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7" r:id="rId1"/>
  </p:sldMasterIdLst>
  <p:notesMasterIdLst>
    <p:notesMasterId r:id="rId8"/>
  </p:notesMasterIdLst>
  <p:sldIdLst>
    <p:sldId id="256" r:id="rId2"/>
    <p:sldId id="267" r:id="rId3"/>
    <p:sldId id="257" r:id="rId4"/>
    <p:sldId id="281" r:id="rId5"/>
    <p:sldId id="283" r:id="rId6"/>
    <p:sldId id="279" r:id="rId7"/>
  </p:sldIdLst>
  <p:sldSz cx="9144000" cy="5143500" type="screen16x9"/>
  <p:notesSz cx="6858000" cy="9144000"/>
  <p:embeddedFontLst>
    <p:embeddedFont>
      <p:font typeface="Atma" panose="020B0604020202020204" charset="0"/>
      <p:regular r:id="rId9"/>
      <p:bold r:id="rId10"/>
    </p:embeddedFont>
    <p:embeddedFont>
      <p:font typeface="Calibri" panose="020F0502020204030204" pitchFamily="34" charset="0"/>
      <p:regular r:id="rId11"/>
      <p:bold r:id="rId12"/>
      <p:italic r:id="rId13"/>
      <p:boldItalic r:id="rId14"/>
    </p:embeddedFont>
    <p:embeddedFont>
      <p:font typeface="Quicksand Light" panose="020B0604020202020204" charset="0"/>
      <p:regular r:id="rId15"/>
      <p:bold r:id="rId16"/>
    </p:embeddedFont>
  </p:embeddedFontLst>
  <p:custDataLst>
    <p:tags r:id="rId1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A77F6BE-F980-4AB1-A104-237138CF3278}">
  <a:tblStyle styleId="{FA77F6BE-F980-4AB1-A104-237138CF3278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6" autoAdjust="0"/>
    <p:restoredTop sz="94660"/>
  </p:normalViewPr>
  <p:slideViewPr>
    <p:cSldViewPr snapToGrid="0">
      <p:cViewPr varScale="1">
        <p:scale>
          <a:sx n="85" d="100"/>
          <a:sy n="85" d="100"/>
        </p:scale>
        <p:origin x="570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font" Target="fonts/font5.fntdata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font" Target="fonts/font4.fntdata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font" Target="fonts/font8.fntdata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3.fntdata"/><Relationship Id="rId5" Type="http://schemas.openxmlformats.org/officeDocument/2006/relationships/slide" Target="slides/slide4.xml"/><Relationship Id="rId15" Type="http://schemas.openxmlformats.org/officeDocument/2006/relationships/font" Target="fonts/font7.fntdata"/><Relationship Id="rId10" Type="http://schemas.openxmlformats.org/officeDocument/2006/relationships/font" Target="fonts/font2.fntdata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font" Target="fonts/font1.fntdata"/><Relationship Id="rId14" Type="http://schemas.openxmlformats.org/officeDocument/2006/relationships/font" Target="fonts/font6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4" name="Google Shape;44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" name="Google Shape;302;g35f391192_07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3" name="Google Shape;303;g35f391192_07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1" name="Google Shape;7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" name="Google Shape;302;g35f391192_07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3" name="Google Shape;303;g35f391192_07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319200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6" name="Google Shape;416;g35ed75ccf_0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17" name="Google Shape;417;g35ed75ccf_0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184771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4" name="Google Shape;714;g35ed75ccf_01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15" name="Google Shape;715;g35ed75ccf_01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bg>
      <p:bgPr>
        <a:gradFill>
          <a:gsLst>
            <a:gs pos="0">
              <a:schemeClr val="accent3"/>
            </a:gs>
            <a:gs pos="100000">
              <a:schemeClr val="accent2"/>
            </a:gs>
          </a:gsLst>
          <a:lin ang="0" scaled="0"/>
        </a:gradFill>
        <a:effectLst/>
      </p:bgPr>
    </p:bg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11;p2"/>
          <p:cNvSpPr txBox="1">
            <a:spLocks noGrp="1"/>
          </p:cNvSpPr>
          <p:nvPr>
            <p:ph type="ctrTitle"/>
          </p:nvPr>
        </p:nvSpPr>
        <p:spPr>
          <a:xfrm>
            <a:off x="855300" y="1016175"/>
            <a:ext cx="4548900" cy="3111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_AND_BODY">
    <p:bg>
      <p:bgPr>
        <a:gradFill>
          <a:gsLst>
            <a:gs pos="0">
              <a:schemeClr val="accent5"/>
            </a:gs>
            <a:gs pos="100000">
              <a:schemeClr val="accent6"/>
            </a:gs>
          </a:gsLst>
          <a:lin ang="0" scaled="0"/>
        </a:gradFill>
        <a:effectLst/>
      </p:bgPr>
    </p:bg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5"/>
          <p:cNvSpPr txBox="1">
            <a:spLocks noGrp="1"/>
          </p:cNvSpPr>
          <p:nvPr>
            <p:ph type="title"/>
          </p:nvPr>
        </p:nvSpPr>
        <p:spPr>
          <a:xfrm>
            <a:off x="855300" y="991175"/>
            <a:ext cx="4693500" cy="3969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5"/>
          <p:cNvSpPr txBox="1">
            <a:spLocks noGrp="1"/>
          </p:cNvSpPr>
          <p:nvPr>
            <p:ph type="body" idx="1"/>
          </p:nvPr>
        </p:nvSpPr>
        <p:spPr>
          <a:xfrm>
            <a:off x="855300" y="1509926"/>
            <a:ext cx="4693500" cy="26424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rtl="0">
              <a:spcBef>
                <a:spcPts val="600"/>
              </a:spcBef>
              <a:spcAft>
                <a:spcPts val="0"/>
              </a:spcAft>
              <a:buSzPts val="1800"/>
              <a:buChar char="➜"/>
              <a:defRPr/>
            </a:lvl1pPr>
            <a:lvl2pPr marL="914400" lvl="1" indent="-368300" rtl="0">
              <a:spcBef>
                <a:spcPts val="0"/>
              </a:spcBef>
              <a:spcAft>
                <a:spcPts val="0"/>
              </a:spcAft>
              <a:buSzPts val="2200"/>
              <a:buChar char="○"/>
              <a:defRPr/>
            </a:lvl2pPr>
            <a:lvl3pPr marL="1371600" lvl="2" indent="-368300" rtl="0">
              <a:spcBef>
                <a:spcPts val="0"/>
              </a:spcBef>
              <a:spcAft>
                <a:spcPts val="0"/>
              </a:spcAft>
              <a:buSzPts val="2200"/>
              <a:buChar char="■"/>
              <a:defRPr/>
            </a:lvl3pPr>
            <a:lvl4pPr marL="1828800" lvl="3" indent="-368300" rtl="0">
              <a:spcBef>
                <a:spcPts val="0"/>
              </a:spcBef>
              <a:spcAft>
                <a:spcPts val="0"/>
              </a:spcAft>
              <a:buSzPts val="2200"/>
              <a:buChar char="●"/>
              <a:defRPr/>
            </a:lvl4pPr>
            <a:lvl5pPr marL="2286000" lvl="4" indent="-368300" rtl="0">
              <a:spcBef>
                <a:spcPts val="0"/>
              </a:spcBef>
              <a:spcAft>
                <a:spcPts val="0"/>
              </a:spcAft>
              <a:buSzPts val="2200"/>
              <a:buChar char="○"/>
              <a:defRPr/>
            </a:lvl5pPr>
            <a:lvl6pPr marL="2743200" lvl="5" indent="-368300" rtl="0">
              <a:spcBef>
                <a:spcPts val="0"/>
              </a:spcBef>
              <a:spcAft>
                <a:spcPts val="0"/>
              </a:spcAft>
              <a:buSzPts val="2200"/>
              <a:buChar char="■"/>
              <a:defRPr/>
            </a:lvl6pPr>
            <a:lvl7pPr marL="3200400" lvl="6" indent="-368300" rtl="0">
              <a:spcBef>
                <a:spcPts val="0"/>
              </a:spcBef>
              <a:spcAft>
                <a:spcPts val="0"/>
              </a:spcAft>
              <a:buSzPts val="2200"/>
              <a:buChar char="●"/>
              <a:defRPr/>
            </a:lvl7pPr>
            <a:lvl8pPr marL="3657600" lvl="7" indent="-368300" rtl="0">
              <a:spcBef>
                <a:spcPts val="0"/>
              </a:spcBef>
              <a:spcAft>
                <a:spcPts val="0"/>
              </a:spcAft>
              <a:buSzPts val="2200"/>
              <a:buChar char="○"/>
              <a:defRPr/>
            </a:lvl8pPr>
            <a:lvl9pPr marL="4114800" lvl="8" indent="-368300" rtl="0">
              <a:spcBef>
                <a:spcPts val="0"/>
              </a:spcBef>
              <a:spcAft>
                <a:spcPts val="0"/>
              </a:spcAft>
              <a:buSzPts val="22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sldNum" idx="12"/>
          </p:nvPr>
        </p:nvSpPr>
        <p:spPr>
          <a:xfrm>
            <a:off x="4297650" y="4673651"/>
            <a:ext cx="548700" cy="3936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_AND_TWO_COLUMNS">
    <p:bg>
      <p:bgPr>
        <a:gradFill>
          <a:gsLst>
            <a:gs pos="0">
              <a:schemeClr val="accent6"/>
            </a:gs>
            <a:gs pos="100000">
              <a:srgbClr val="95F163"/>
            </a:gs>
          </a:gsLst>
          <a:lin ang="0" scaled="0"/>
        </a:gra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6"/>
          <p:cNvSpPr txBox="1">
            <a:spLocks noGrp="1"/>
          </p:cNvSpPr>
          <p:nvPr>
            <p:ph type="title"/>
          </p:nvPr>
        </p:nvSpPr>
        <p:spPr>
          <a:xfrm>
            <a:off x="855300" y="991175"/>
            <a:ext cx="5172600" cy="3969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6"/>
          <p:cNvSpPr txBox="1">
            <a:spLocks noGrp="1"/>
          </p:cNvSpPr>
          <p:nvPr>
            <p:ph type="body" idx="1"/>
          </p:nvPr>
        </p:nvSpPr>
        <p:spPr>
          <a:xfrm>
            <a:off x="855275" y="1509925"/>
            <a:ext cx="2416800" cy="3106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rtl="0">
              <a:spcBef>
                <a:spcPts val="600"/>
              </a:spcBef>
              <a:spcAft>
                <a:spcPts val="0"/>
              </a:spcAft>
              <a:buSzPts val="1800"/>
              <a:buChar char="➜"/>
              <a:defRPr sz="1800"/>
            </a:lvl1pPr>
            <a:lvl2pPr marL="914400" lvl="1" indent="-342900" rtl="0">
              <a:spcBef>
                <a:spcPts val="0"/>
              </a:spcBef>
              <a:spcAft>
                <a:spcPts val="0"/>
              </a:spcAft>
              <a:buSzPts val="1800"/>
              <a:buChar char="○"/>
              <a:defRPr sz="1800"/>
            </a:lvl2pPr>
            <a:lvl3pPr marL="1371600" lvl="2" indent="-342900" rtl="0"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3pPr>
            <a:lvl4pPr marL="1828800" lvl="3" indent="-342900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1800"/>
            </a:lvl4pPr>
            <a:lvl5pPr marL="2286000" lvl="4" indent="-342900" rtl="0">
              <a:spcBef>
                <a:spcPts val="0"/>
              </a:spcBef>
              <a:spcAft>
                <a:spcPts val="0"/>
              </a:spcAft>
              <a:buSzPts val="1800"/>
              <a:buChar char="○"/>
              <a:defRPr sz="1800"/>
            </a:lvl5pPr>
            <a:lvl6pPr marL="2743200" lvl="5" indent="-342900" rtl="0"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6pPr>
            <a:lvl7pPr marL="3200400" lvl="6" indent="-342900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1800"/>
            </a:lvl7pPr>
            <a:lvl8pPr marL="3657600" lvl="7" indent="-342900" rtl="0">
              <a:spcBef>
                <a:spcPts val="0"/>
              </a:spcBef>
              <a:spcAft>
                <a:spcPts val="0"/>
              </a:spcAft>
              <a:buSzPts val="1800"/>
              <a:buChar char="○"/>
              <a:defRPr sz="1800"/>
            </a:lvl8pPr>
            <a:lvl9pPr marL="4114800" lvl="8" indent="-342900" rtl="0"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9pPr>
          </a:lstStyle>
          <a:p>
            <a:endParaRPr/>
          </a:p>
        </p:txBody>
      </p:sp>
      <p:sp>
        <p:nvSpPr>
          <p:cNvPr id="26" name="Google Shape;26;p6"/>
          <p:cNvSpPr txBox="1">
            <a:spLocks noGrp="1"/>
          </p:cNvSpPr>
          <p:nvPr>
            <p:ph type="body" idx="2"/>
          </p:nvPr>
        </p:nvSpPr>
        <p:spPr>
          <a:xfrm>
            <a:off x="3610974" y="1509925"/>
            <a:ext cx="2416800" cy="3106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rtl="0">
              <a:spcBef>
                <a:spcPts val="600"/>
              </a:spcBef>
              <a:spcAft>
                <a:spcPts val="0"/>
              </a:spcAft>
              <a:buSzPts val="1800"/>
              <a:buChar char="➜"/>
              <a:defRPr sz="1800"/>
            </a:lvl1pPr>
            <a:lvl2pPr marL="914400" lvl="1" indent="-342900" rtl="0">
              <a:spcBef>
                <a:spcPts val="0"/>
              </a:spcBef>
              <a:spcAft>
                <a:spcPts val="0"/>
              </a:spcAft>
              <a:buSzPts val="1800"/>
              <a:buChar char="○"/>
              <a:defRPr sz="1800"/>
            </a:lvl2pPr>
            <a:lvl3pPr marL="1371600" lvl="2" indent="-342900" rtl="0"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3pPr>
            <a:lvl4pPr marL="1828800" lvl="3" indent="-342900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1800"/>
            </a:lvl4pPr>
            <a:lvl5pPr marL="2286000" lvl="4" indent="-342900" rtl="0">
              <a:spcBef>
                <a:spcPts val="0"/>
              </a:spcBef>
              <a:spcAft>
                <a:spcPts val="0"/>
              </a:spcAft>
              <a:buSzPts val="1800"/>
              <a:buChar char="○"/>
              <a:defRPr sz="1800"/>
            </a:lvl5pPr>
            <a:lvl6pPr marL="2743200" lvl="5" indent="-342900" rtl="0"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6pPr>
            <a:lvl7pPr marL="3200400" lvl="6" indent="-342900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1800"/>
            </a:lvl7pPr>
            <a:lvl8pPr marL="3657600" lvl="7" indent="-342900" rtl="0">
              <a:spcBef>
                <a:spcPts val="0"/>
              </a:spcBef>
              <a:spcAft>
                <a:spcPts val="0"/>
              </a:spcAft>
              <a:buSzPts val="1800"/>
              <a:buChar char="○"/>
              <a:defRPr sz="1800"/>
            </a:lvl8pPr>
            <a:lvl9pPr marL="4114800" lvl="8" indent="-342900" rtl="0"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4297650" y="4673651"/>
            <a:ext cx="548700" cy="3936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bg>
      <p:bgPr>
        <a:gradFill>
          <a:gsLst>
            <a:gs pos="0">
              <a:schemeClr val="accent3"/>
            </a:gs>
            <a:gs pos="100000">
              <a:schemeClr val="accent2"/>
            </a:gs>
          </a:gsLst>
          <a:lin ang="0" scaled="0"/>
        </a:gradFill>
        <a:effectLst/>
      </p:bgPr>
    </p:bg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8"/>
          <p:cNvSpPr txBox="1">
            <a:spLocks noGrp="1"/>
          </p:cNvSpPr>
          <p:nvPr>
            <p:ph type="title"/>
          </p:nvPr>
        </p:nvSpPr>
        <p:spPr>
          <a:xfrm>
            <a:off x="855300" y="991175"/>
            <a:ext cx="4693500" cy="3969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8"/>
          <p:cNvSpPr txBox="1">
            <a:spLocks noGrp="1"/>
          </p:cNvSpPr>
          <p:nvPr>
            <p:ph type="sldNum" idx="12"/>
          </p:nvPr>
        </p:nvSpPr>
        <p:spPr>
          <a:xfrm>
            <a:off x="4297650" y="4673651"/>
            <a:ext cx="548700" cy="3936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gradFill>
          <a:gsLst>
            <a:gs pos="0">
              <a:schemeClr val="accent5"/>
            </a:gs>
            <a:gs pos="100000">
              <a:srgbClr val="FF4D82"/>
            </a:gs>
          </a:gsLst>
          <a:lin ang="0" scaled="0"/>
        </a:gra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0"/>
          <p:cNvSpPr txBox="1">
            <a:spLocks noGrp="1"/>
          </p:cNvSpPr>
          <p:nvPr>
            <p:ph type="sldNum" idx="12"/>
          </p:nvPr>
        </p:nvSpPr>
        <p:spPr>
          <a:xfrm>
            <a:off x="4297650" y="4673651"/>
            <a:ext cx="548700" cy="3936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gradFill>
          <a:gsLst>
            <a:gs pos="0">
              <a:schemeClr val="accent1"/>
            </a:gs>
            <a:gs pos="100000">
              <a:srgbClr val="BBFF45"/>
            </a:gs>
          </a:gsLst>
          <a:lin ang="0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A6DB4ED-9868-464D-B7CF-113293CF8A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324290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9" imgW="592" imgH="595" progId="TCLayout.ActiveDocument.1">
                  <p:embed/>
                </p:oleObj>
              </mc:Choice>
              <mc:Fallback>
                <p:oleObj name="think-cell Slide" r:id="rId9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oogle Shape;6;p1"/>
          <p:cNvPicPr preferRelativeResize="0"/>
          <p:nvPr/>
        </p:nvPicPr>
        <p:blipFill rotWithShape="1">
          <a:blip r:embed="rId11">
            <a:alphaModFix amt="10000"/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7;p1"/>
          <p:cNvSpPr txBox="1">
            <a:spLocks noGrp="1"/>
          </p:cNvSpPr>
          <p:nvPr>
            <p:ph type="title"/>
          </p:nvPr>
        </p:nvSpPr>
        <p:spPr>
          <a:xfrm>
            <a:off x="855300" y="991175"/>
            <a:ext cx="4693500" cy="396900"/>
          </a:xfrm>
          <a:prstGeom prst="rect">
            <a:avLst/>
          </a:prstGeom>
          <a:noFill/>
          <a:ln>
            <a:noFill/>
          </a:ln>
          <a:effectLst>
            <a:outerShdw blurRad="28575" dist="9525" dir="5400000" algn="bl" rotWithShape="0">
              <a:schemeClr val="dk1">
                <a:alpha val="40000"/>
              </a:schemeClr>
            </a:outerShdw>
          </a:effectLst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tma"/>
              <a:buNone/>
              <a:defRPr sz="3200" b="1">
                <a:solidFill>
                  <a:schemeClr val="lt1"/>
                </a:solidFill>
                <a:latin typeface="Atma"/>
                <a:ea typeface="Atma"/>
                <a:cs typeface="Atma"/>
                <a:sym typeface="Atma"/>
              </a:defRPr>
            </a:lvl1pPr>
            <a:lvl2pPr lvl="1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tma"/>
              <a:buNone/>
              <a:defRPr sz="3200" b="1">
                <a:solidFill>
                  <a:schemeClr val="lt1"/>
                </a:solidFill>
                <a:latin typeface="Atma"/>
                <a:ea typeface="Atma"/>
                <a:cs typeface="Atma"/>
                <a:sym typeface="Atma"/>
              </a:defRPr>
            </a:lvl2pPr>
            <a:lvl3pPr lvl="2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tma"/>
              <a:buNone/>
              <a:defRPr sz="3200" b="1">
                <a:solidFill>
                  <a:schemeClr val="lt1"/>
                </a:solidFill>
                <a:latin typeface="Atma"/>
                <a:ea typeface="Atma"/>
                <a:cs typeface="Atma"/>
                <a:sym typeface="Atma"/>
              </a:defRPr>
            </a:lvl3pPr>
            <a:lvl4pPr lvl="3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tma"/>
              <a:buNone/>
              <a:defRPr sz="3200" b="1">
                <a:solidFill>
                  <a:schemeClr val="lt1"/>
                </a:solidFill>
                <a:latin typeface="Atma"/>
                <a:ea typeface="Atma"/>
                <a:cs typeface="Atma"/>
                <a:sym typeface="Atma"/>
              </a:defRPr>
            </a:lvl4pPr>
            <a:lvl5pPr lvl="4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tma"/>
              <a:buNone/>
              <a:defRPr sz="3200" b="1">
                <a:solidFill>
                  <a:schemeClr val="lt1"/>
                </a:solidFill>
                <a:latin typeface="Atma"/>
                <a:ea typeface="Atma"/>
                <a:cs typeface="Atma"/>
                <a:sym typeface="Atma"/>
              </a:defRPr>
            </a:lvl5pPr>
            <a:lvl6pPr lvl="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tma"/>
              <a:buNone/>
              <a:defRPr sz="3200" b="1">
                <a:solidFill>
                  <a:schemeClr val="lt1"/>
                </a:solidFill>
                <a:latin typeface="Atma"/>
                <a:ea typeface="Atma"/>
                <a:cs typeface="Atma"/>
                <a:sym typeface="Atma"/>
              </a:defRPr>
            </a:lvl6pPr>
            <a:lvl7pPr lvl="6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tma"/>
              <a:buNone/>
              <a:defRPr sz="3200" b="1">
                <a:solidFill>
                  <a:schemeClr val="lt1"/>
                </a:solidFill>
                <a:latin typeface="Atma"/>
                <a:ea typeface="Atma"/>
                <a:cs typeface="Atma"/>
                <a:sym typeface="Atma"/>
              </a:defRPr>
            </a:lvl7pPr>
            <a:lvl8pPr lvl="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tma"/>
              <a:buNone/>
              <a:defRPr sz="3200" b="1">
                <a:solidFill>
                  <a:schemeClr val="lt1"/>
                </a:solidFill>
                <a:latin typeface="Atma"/>
                <a:ea typeface="Atma"/>
                <a:cs typeface="Atma"/>
                <a:sym typeface="Atma"/>
              </a:defRPr>
            </a:lvl8pPr>
            <a:lvl9pPr lvl="8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tma"/>
              <a:buNone/>
              <a:defRPr sz="3200" b="1">
                <a:solidFill>
                  <a:schemeClr val="lt1"/>
                </a:solidFill>
                <a:latin typeface="Atma"/>
                <a:ea typeface="Atma"/>
                <a:cs typeface="Atma"/>
                <a:sym typeface="Atma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body" idx="1"/>
          </p:nvPr>
        </p:nvSpPr>
        <p:spPr>
          <a:xfrm>
            <a:off x="855300" y="1509926"/>
            <a:ext cx="4693500" cy="2642400"/>
          </a:xfrm>
          <a:prstGeom prst="rect">
            <a:avLst/>
          </a:prstGeom>
          <a:noFill/>
          <a:ln>
            <a:noFill/>
          </a:ln>
          <a:effectLst>
            <a:outerShdw dist="9525" dir="16200000" algn="bl" rotWithShape="0">
              <a:schemeClr val="lt1">
                <a:alpha val="20000"/>
              </a:schemeClr>
            </a:outerShdw>
          </a:effectLst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rtl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Quicksand Light"/>
              <a:buChar char="➜"/>
              <a:defRPr sz="2200">
                <a:solidFill>
                  <a:schemeClr val="dk1"/>
                </a:solidFill>
                <a:latin typeface="Quicksand Light"/>
                <a:ea typeface="Quicksand Light"/>
                <a:cs typeface="Quicksand Light"/>
                <a:sym typeface="Quicksand Light"/>
              </a:defRPr>
            </a:lvl1pPr>
            <a:lvl2pPr marL="914400" lvl="1" indent="-3683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Quicksand Light"/>
              <a:buChar char="○"/>
              <a:defRPr sz="2200">
                <a:solidFill>
                  <a:schemeClr val="dk1"/>
                </a:solidFill>
                <a:latin typeface="Quicksand Light"/>
                <a:ea typeface="Quicksand Light"/>
                <a:cs typeface="Quicksand Light"/>
                <a:sym typeface="Quicksand Light"/>
              </a:defRPr>
            </a:lvl2pPr>
            <a:lvl3pPr marL="1371600" lvl="2" indent="-3683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Quicksand Light"/>
              <a:buChar char="■"/>
              <a:defRPr sz="2200">
                <a:solidFill>
                  <a:schemeClr val="dk1"/>
                </a:solidFill>
                <a:latin typeface="Quicksand Light"/>
                <a:ea typeface="Quicksand Light"/>
                <a:cs typeface="Quicksand Light"/>
                <a:sym typeface="Quicksand Light"/>
              </a:defRPr>
            </a:lvl3pPr>
            <a:lvl4pPr marL="1828800" lvl="3" indent="-3683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Quicksand Light"/>
              <a:buChar char="●"/>
              <a:defRPr sz="2200">
                <a:solidFill>
                  <a:schemeClr val="dk1"/>
                </a:solidFill>
                <a:latin typeface="Quicksand Light"/>
                <a:ea typeface="Quicksand Light"/>
                <a:cs typeface="Quicksand Light"/>
                <a:sym typeface="Quicksand Light"/>
              </a:defRPr>
            </a:lvl4pPr>
            <a:lvl5pPr marL="2286000" lvl="4" indent="-3683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Quicksand Light"/>
              <a:buChar char="○"/>
              <a:defRPr sz="2200">
                <a:solidFill>
                  <a:schemeClr val="dk1"/>
                </a:solidFill>
                <a:latin typeface="Quicksand Light"/>
                <a:ea typeface="Quicksand Light"/>
                <a:cs typeface="Quicksand Light"/>
                <a:sym typeface="Quicksand Light"/>
              </a:defRPr>
            </a:lvl5pPr>
            <a:lvl6pPr marL="2743200" lvl="5" indent="-3683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Quicksand Light"/>
              <a:buChar char="■"/>
              <a:defRPr sz="2200">
                <a:solidFill>
                  <a:schemeClr val="dk1"/>
                </a:solidFill>
                <a:latin typeface="Quicksand Light"/>
                <a:ea typeface="Quicksand Light"/>
                <a:cs typeface="Quicksand Light"/>
                <a:sym typeface="Quicksand Light"/>
              </a:defRPr>
            </a:lvl6pPr>
            <a:lvl7pPr marL="3200400" lvl="6" indent="-3683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Quicksand Light"/>
              <a:buChar char="●"/>
              <a:defRPr sz="2200">
                <a:solidFill>
                  <a:schemeClr val="dk1"/>
                </a:solidFill>
                <a:latin typeface="Quicksand Light"/>
                <a:ea typeface="Quicksand Light"/>
                <a:cs typeface="Quicksand Light"/>
                <a:sym typeface="Quicksand Light"/>
              </a:defRPr>
            </a:lvl7pPr>
            <a:lvl8pPr marL="3657600" lvl="7" indent="-3683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Quicksand Light"/>
              <a:buChar char="○"/>
              <a:defRPr sz="2200">
                <a:solidFill>
                  <a:schemeClr val="dk1"/>
                </a:solidFill>
                <a:latin typeface="Quicksand Light"/>
                <a:ea typeface="Quicksand Light"/>
                <a:cs typeface="Quicksand Light"/>
                <a:sym typeface="Quicksand Light"/>
              </a:defRPr>
            </a:lvl8pPr>
            <a:lvl9pPr marL="4114800" lvl="8" indent="-3683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Quicksand Light"/>
              <a:buChar char="■"/>
              <a:defRPr sz="2200">
                <a:solidFill>
                  <a:schemeClr val="dk1"/>
                </a:solidFill>
                <a:latin typeface="Quicksand Light"/>
                <a:ea typeface="Quicksand Light"/>
                <a:cs typeface="Quicksand Light"/>
                <a:sym typeface="Quicksand Light"/>
              </a:defRPr>
            </a:lvl9pPr>
          </a:lstStyle>
          <a:p>
            <a:endParaRPr/>
          </a:p>
        </p:txBody>
      </p:sp>
      <p:sp>
        <p:nvSpPr>
          <p:cNvPr id="9" name="Google Shape;9;p1"/>
          <p:cNvSpPr txBox="1">
            <a:spLocks noGrp="1"/>
          </p:cNvSpPr>
          <p:nvPr>
            <p:ph type="sldNum" idx="12"/>
          </p:nvPr>
        </p:nvSpPr>
        <p:spPr>
          <a:xfrm>
            <a:off x="4297650" y="4673651"/>
            <a:ext cx="548700" cy="393600"/>
          </a:xfrm>
          <a:prstGeom prst="rect">
            <a:avLst/>
          </a:prstGeom>
          <a:noFill/>
          <a:ln>
            <a:noFill/>
          </a:ln>
          <a:effectLst>
            <a:outerShdw blurRad="28575" dist="9525" dir="5400000" algn="bl" rotWithShape="0">
              <a:schemeClr val="dk1">
                <a:alpha val="40000"/>
              </a:scheme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>
            <a:lvl1pPr lvl="0" algn="ctr" rtl="0">
              <a:buNone/>
              <a:defRPr sz="1500" b="1">
                <a:solidFill>
                  <a:schemeClr val="lt1"/>
                </a:solidFill>
                <a:latin typeface="Atma"/>
                <a:ea typeface="Atma"/>
                <a:cs typeface="Atma"/>
                <a:sym typeface="Atma"/>
              </a:defRPr>
            </a:lvl1pPr>
            <a:lvl2pPr lvl="1" algn="ctr" rtl="0">
              <a:buNone/>
              <a:defRPr sz="1500" b="1">
                <a:solidFill>
                  <a:schemeClr val="lt1"/>
                </a:solidFill>
                <a:latin typeface="Atma"/>
                <a:ea typeface="Atma"/>
                <a:cs typeface="Atma"/>
                <a:sym typeface="Atma"/>
              </a:defRPr>
            </a:lvl2pPr>
            <a:lvl3pPr lvl="2" algn="ctr" rtl="0">
              <a:buNone/>
              <a:defRPr sz="1500" b="1">
                <a:solidFill>
                  <a:schemeClr val="lt1"/>
                </a:solidFill>
                <a:latin typeface="Atma"/>
                <a:ea typeface="Atma"/>
                <a:cs typeface="Atma"/>
                <a:sym typeface="Atma"/>
              </a:defRPr>
            </a:lvl3pPr>
            <a:lvl4pPr lvl="3" algn="ctr" rtl="0">
              <a:buNone/>
              <a:defRPr sz="1500" b="1">
                <a:solidFill>
                  <a:schemeClr val="lt1"/>
                </a:solidFill>
                <a:latin typeface="Atma"/>
                <a:ea typeface="Atma"/>
                <a:cs typeface="Atma"/>
                <a:sym typeface="Atma"/>
              </a:defRPr>
            </a:lvl4pPr>
            <a:lvl5pPr lvl="4" algn="ctr" rtl="0">
              <a:buNone/>
              <a:defRPr sz="1500" b="1">
                <a:solidFill>
                  <a:schemeClr val="lt1"/>
                </a:solidFill>
                <a:latin typeface="Atma"/>
                <a:ea typeface="Atma"/>
                <a:cs typeface="Atma"/>
                <a:sym typeface="Atma"/>
              </a:defRPr>
            </a:lvl5pPr>
            <a:lvl6pPr lvl="5" algn="ctr" rtl="0">
              <a:buNone/>
              <a:defRPr sz="1500" b="1">
                <a:solidFill>
                  <a:schemeClr val="lt1"/>
                </a:solidFill>
                <a:latin typeface="Atma"/>
                <a:ea typeface="Atma"/>
                <a:cs typeface="Atma"/>
                <a:sym typeface="Atma"/>
              </a:defRPr>
            </a:lvl6pPr>
            <a:lvl7pPr lvl="6" algn="ctr" rtl="0">
              <a:buNone/>
              <a:defRPr sz="1500" b="1">
                <a:solidFill>
                  <a:schemeClr val="lt1"/>
                </a:solidFill>
                <a:latin typeface="Atma"/>
                <a:ea typeface="Atma"/>
                <a:cs typeface="Atma"/>
                <a:sym typeface="Atma"/>
              </a:defRPr>
            </a:lvl7pPr>
            <a:lvl8pPr lvl="7" algn="ctr" rtl="0">
              <a:buNone/>
              <a:defRPr sz="1500" b="1">
                <a:solidFill>
                  <a:schemeClr val="lt1"/>
                </a:solidFill>
                <a:latin typeface="Atma"/>
                <a:ea typeface="Atma"/>
                <a:cs typeface="Atma"/>
                <a:sym typeface="Atma"/>
              </a:defRPr>
            </a:lvl8pPr>
            <a:lvl9pPr lvl="8" algn="ctr" rtl="0">
              <a:buNone/>
              <a:defRPr sz="1500" b="1">
                <a:solidFill>
                  <a:schemeClr val="lt1"/>
                </a:solidFill>
                <a:latin typeface="Atma"/>
                <a:ea typeface="Atma"/>
                <a:cs typeface="Atma"/>
                <a:sym typeface="Atma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1" r:id="rId2"/>
    <p:sldLayoutId id="2147483652" r:id="rId3"/>
    <p:sldLayoutId id="2147483654" r:id="rId4"/>
    <p:sldLayoutId id="2147483656" r:id="rId5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30FA2B5-BE1E-4F45-91A8-C0F023BBA6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4739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Google Shape;46;p11"/>
          <p:cNvSpPr txBox="1">
            <a:spLocks noGrp="1"/>
          </p:cNvSpPr>
          <p:nvPr>
            <p:ph type="ctrTitle"/>
          </p:nvPr>
        </p:nvSpPr>
        <p:spPr>
          <a:xfrm>
            <a:off x="604251" y="1016177"/>
            <a:ext cx="4548900" cy="3111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I</a:t>
            </a:r>
            <a:r>
              <a:rPr lang="en-US" dirty="0"/>
              <a:t>RONHACK-ADO</a:t>
            </a:r>
            <a:endParaRPr dirty="0"/>
          </a:p>
        </p:txBody>
      </p:sp>
      <p:grpSp>
        <p:nvGrpSpPr>
          <p:cNvPr id="47" name="Google Shape;47;p11"/>
          <p:cNvGrpSpPr/>
          <p:nvPr/>
        </p:nvGrpSpPr>
        <p:grpSpPr>
          <a:xfrm>
            <a:off x="6008272" y="1625290"/>
            <a:ext cx="1837957" cy="1427239"/>
            <a:chOff x="2860826" y="401530"/>
            <a:chExt cx="2115269" cy="1642581"/>
          </a:xfrm>
        </p:grpSpPr>
        <p:sp>
          <p:nvSpPr>
            <p:cNvPr id="48" name="Google Shape;48;p11"/>
            <p:cNvSpPr/>
            <p:nvPr/>
          </p:nvSpPr>
          <p:spPr>
            <a:xfrm>
              <a:off x="2860826" y="401530"/>
              <a:ext cx="2115269" cy="1642581"/>
            </a:xfrm>
            <a:custGeom>
              <a:avLst/>
              <a:gdLst/>
              <a:ahLst/>
              <a:cxnLst/>
              <a:rect l="l" t="t" r="r" b="b"/>
              <a:pathLst>
                <a:path w="2115269" h="1642581" extrusionOk="0">
                  <a:moveTo>
                    <a:pt x="245052" y="1642582"/>
                  </a:moveTo>
                  <a:cubicBezTo>
                    <a:pt x="509714" y="1619636"/>
                    <a:pt x="782253" y="1607649"/>
                    <a:pt x="1060477" y="1607649"/>
                  </a:cubicBezTo>
                  <a:cubicBezTo>
                    <a:pt x="1331715" y="1607649"/>
                    <a:pt x="1597541" y="1619088"/>
                    <a:pt x="1855902" y="1640869"/>
                  </a:cubicBezTo>
                  <a:cubicBezTo>
                    <a:pt x="1868690" y="1627170"/>
                    <a:pt x="1881060" y="1612992"/>
                    <a:pt x="1893026" y="1598334"/>
                  </a:cubicBezTo>
                  <a:cubicBezTo>
                    <a:pt x="1980028" y="1493928"/>
                    <a:pt x="2044145" y="1372426"/>
                    <a:pt x="2081249" y="1241684"/>
                  </a:cubicBezTo>
                  <a:cubicBezTo>
                    <a:pt x="2119756" y="1105894"/>
                    <a:pt x="2125668" y="962926"/>
                    <a:pt x="2098509" y="824416"/>
                  </a:cubicBezTo>
                  <a:cubicBezTo>
                    <a:pt x="2049057" y="569754"/>
                    <a:pt x="1935630" y="368312"/>
                    <a:pt x="1761449" y="225501"/>
                  </a:cubicBezTo>
                  <a:cubicBezTo>
                    <a:pt x="1578980" y="75910"/>
                    <a:pt x="1339797" y="18"/>
                    <a:pt x="1050682" y="18"/>
                  </a:cubicBezTo>
                  <a:cubicBezTo>
                    <a:pt x="903988" y="-836"/>
                    <a:pt x="758732" y="28980"/>
                    <a:pt x="624236" y="87554"/>
                  </a:cubicBezTo>
                  <a:cubicBezTo>
                    <a:pt x="501508" y="141599"/>
                    <a:pt x="390609" y="219263"/>
                    <a:pt x="297861" y="316119"/>
                  </a:cubicBezTo>
                  <a:cubicBezTo>
                    <a:pt x="101419" y="520575"/>
                    <a:pt x="-9679" y="802772"/>
                    <a:pt x="663" y="1071749"/>
                  </a:cubicBezTo>
                  <a:cubicBezTo>
                    <a:pt x="9088" y="1284356"/>
                    <a:pt x="94775" y="1483332"/>
                    <a:pt x="245052" y="1642582"/>
                  </a:cubicBezTo>
                  <a:close/>
                </a:path>
              </a:pathLst>
            </a:custGeom>
            <a:solidFill>
              <a:srgbClr val="09052E">
                <a:alpha val="1173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49;p11"/>
            <p:cNvSpPr/>
            <p:nvPr/>
          </p:nvSpPr>
          <p:spPr>
            <a:xfrm>
              <a:off x="2983792" y="475316"/>
              <a:ext cx="1869056" cy="1552082"/>
            </a:xfrm>
            <a:custGeom>
              <a:avLst/>
              <a:gdLst/>
              <a:ahLst/>
              <a:cxnLst/>
              <a:rect l="l" t="t" r="r" b="b"/>
              <a:pathLst>
                <a:path w="1869056" h="1552082" extrusionOk="0">
                  <a:moveTo>
                    <a:pt x="347020" y="1552083"/>
                  </a:moveTo>
                  <a:cubicBezTo>
                    <a:pt x="540360" y="1540028"/>
                    <a:pt x="737185" y="1533952"/>
                    <a:pt x="937510" y="1533863"/>
                  </a:cubicBezTo>
                  <a:cubicBezTo>
                    <a:pt x="1132446" y="1533863"/>
                    <a:pt x="1324230" y="1539637"/>
                    <a:pt x="1512863" y="1551192"/>
                  </a:cubicBezTo>
                  <a:cubicBezTo>
                    <a:pt x="1766292" y="1362285"/>
                    <a:pt x="1918076" y="1051183"/>
                    <a:pt x="1854650" y="724876"/>
                  </a:cubicBezTo>
                  <a:cubicBezTo>
                    <a:pt x="1769717" y="285279"/>
                    <a:pt x="1464506" y="0"/>
                    <a:pt x="927716" y="0"/>
                  </a:cubicBezTo>
                  <a:cubicBezTo>
                    <a:pt x="337774" y="0"/>
                    <a:pt x="-16274" y="505694"/>
                    <a:pt x="576" y="943990"/>
                  </a:cubicBezTo>
                  <a:cubicBezTo>
                    <a:pt x="10028" y="1188583"/>
                    <a:pt x="140167" y="1406875"/>
                    <a:pt x="347020" y="155208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50;p11"/>
            <p:cNvSpPr/>
            <p:nvPr/>
          </p:nvSpPr>
          <p:spPr>
            <a:xfrm>
              <a:off x="3539074" y="964575"/>
              <a:ext cx="758060" cy="758156"/>
            </a:xfrm>
            <a:custGeom>
              <a:avLst/>
              <a:gdLst/>
              <a:ahLst/>
              <a:cxnLst/>
              <a:rect l="l" t="t" r="r" b="b"/>
              <a:pathLst>
                <a:path w="758060" h="758156" extrusionOk="0">
                  <a:moveTo>
                    <a:pt x="724496" y="223151"/>
                  </a:moveTo>
                  <a:cubicBezTo>
                    <a:pt x="687310" y="294289"/>
                    <a:pt x="599493" y="321817"/>
                    <a:pt x="528355" y="284631"/>
                  </a:cubicBezTo>
                  <a:cubicBezTo>
                    <a:pt x="457217" y="247446"/>
                    <a:pt x="429689" y="159629"/>
                    <a:pt x="466875" y="88491"/>
                  </a:cubicBezTo>
                  <a:cubicBezTo>
                    <a:pt x="479923" y="63532"/>
                    <a:pt x="499937" y="42901"/>
                    <a:pt x="524492" y="29106"/>
                  </a:cubicBezTo>
                  <a:cubicBezTo>
                    <a:pt x="331208" y="-51203"/>
                    <a:pt x="109416" y="40382"/>
                    <a:pt x="29107" y="233665"/>
                  </a:cubicBezTo>
                  <a:cubicBezTo>
                    <a:pt x="-51203" y="426949"/>
                    <a:pt x="40381" y="648740"/>
                    <a:pt x="233665" y="729050"/>
                  </a:cubicBezTo>
                  <a:cubicBezTo>
                    <a:pt x="426949" y="809360"/>
                    <a:pt x="648741" y="717776"/>
                    <a:pt x="729051" y="524492"/>
                  </a:cubicBezTo>
                  <a:cubicBezTo>
                    <a:pt x="769257" y="427730"/>
                    <a:pt x="767606" y="318645"/>
                    <a:pt x="724496" y="223151"/>
                  </a:cubicBezTo>
                  <a:close/>
                </a:path>
              </a:pathLst>
            </a:custGeom>
            <a:gradFill>
              <a:gsLst>
                <a:gs pos="0">
                  <a:schemeClr val="accent5"/>
                </a:gs>
                <a:gs pos="100000">
                  <a:srgbClr val="FF4D82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51;p11"/>
            <p:cNvSpPr/>
            <p:nvPr/>
          </p:nvSpPr>
          <p:spPr>
            <a:xfrm>
              <a:off x="3712949" y="1137272"/>
              <a:ext cx="411706" cy="411763"/>
            </a:xfrm>
            <a:custGeom>
              <a:avLst/>
              <a:gdLst/>
              <a:ahLst/>
              <a:cxnLst/>
              <a:rect l="l" t="t" r="r" b="b"/>
              <a:pathLst>
                <a:path w="411706" h="411763" extrusionOk="0">
                  <a:moveTo>
                    <a:pt x="279862" y="13810"/>
                  </a:moveTo>
                  <a:cubicBezTo>
                    <a:pt x="173784" y="-27047"/>
                    <a:pt x="54666" y="25824"/>
                    <a:pt x="13809" y="131901"/>
                  </a:cubicBezTo>
                  <a:cubicBezTo>
                    <a:pt x="-27048" y="237978"/>
                    <a:pt x="25830" y="357097"/>
                    <a:pt x="131907" y="397954"/>
                  </a:cubicBezTo>
                  <a:cubicBezTo>
                    <a:pt x="237984" y="438811"/>
                    <a:pt x="357096" y="385940"/>
                    <a:pt x="397953" y="279863"/>
                  </a:cubicBezTo>
                  <a:cubicBezTo>
                    <a:pt x="417090" y="230170"/>
                    <a:pt x="416227" y="174998"/>
                    <a:pt x="395549" y="125935"/>
                  </a:cubicBezTo>
                  <a:cubicBezTo>
                    <a:pt x="337897" y="115325"/>
                    <a:pt x="292273" y="71105"/>
                    <a:pt x="279862" y="1381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52;p11"/>
            <p:cNvSpPr/>
            <p:nvPr/>
          </p:nvSpPr>
          <p:spPr>
            <a:xfrm>
              <a:off x="2983798" y="1299235"/>
              <a:ext cx="1868927" cy="728163"/>
            </a:xfrm>
            <a:custGeom>
              <a:avLst/>
              <a:gdLst/>
              <a:ahLst/>
              <a:cxnLst/>
              <a:rect l="l" t="t" r="r" b="b"/>
              <a:pathLst>
                <a:path w="1868927" h="728163" extrusionOk="0">
                  <a:moveTo>
                    <a:pt x="347015" y="728164"/>
                  </a:moveTo>
                  <a:cubicBezTo>
                    <a:pt x="540354" y="716109"/>
                    <a:pt x="737179" y="710033"/>
                    <a:pt x="937505" y="709944"/>
                  </a:cubicBezTo>
                  <a:cubicBezTo>
                    <a:pt x="1132440" y="709944"/>
                    <a:pt x="1324224" y="715718"/>
                    <a:pt x="1512858" y="727273"/>
                  </a:cubicBezTo>
                  <a:cubicBezTo>
                    <a:pt x="1740396" y="557613"/>
                    <a:pt x="1886015" y="289457"/>
                    <a:pt x="1867316" y="0"/>
                  </a:cubicBezTo>
                  <a:cubicBezTo>
                    <a:pt x="1727793" y="347404"/>
                    <a:pt x="1367307" y="603915"/>
                    <a:pt x="963190" y="603915"/>
                  </a:cubicBezTo>
                  <a:cubicBezTo>
                    <a:pt x="507292" y="603915"/>
                    <a:pt x="141943" y="366308"/>
                    <a:pt x="1940" y="34795"/>
                  </a:cubicBezTo>
                  <a:cubicBezTo>
                    <a:pt x="-53" y="63172"/>
                    <a:pt x="-512" y="91639"/>
                    <a:pt x="570" y="120071"/>
                  </a:cubicBezTo>
                  <a:cubicBezTo>
                    <a:pt x="10022" y="364664"/>
                    <a:pt x="140162" y="582956"/>
                    <a:pt x="347015" y="728164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53" name="Google Shape;53;p11"/>
          <p:cNvGrpSpPr/>
          <p:nvPr/>
        </p:nvGrpSpPr>
        <p:grpSpPr>
          <a:xfrm>
            <a:off x="5546972" y="2743287"/>
            <a:ext cx="2760511" cy="1383992"/>
            <a:chOff x="2819969" y="4365386"/>
            <a:chExt cx="1694813" cy="849700"/>
          </a:xfrm>
        </p:grpSpPr>
        <p:sp>
          <p:nvSpPr>
            <p:cNvPr id="54" name="Google Shape;54;p11"/>
            <p:cNvSpPr/>
            <p:nvPr/>
          </p:nvSpPr>
          <p:spPr>
            <a:xfrm>
              <a:off x="2819969" y="4365386"/>
              <a:ext cx="1694813" cy="767412"/>
            </a:xfrm>
            <a:custGeom>
              <a:avLst/>
              <a:gdLst/>
              <a:ahLst/>
              <a:cxnLst/>
              <a:rect l="l" t="t" r="r" b="b"/>
              <a:pathLst>
                <a:path w="1694813" h="767412" extrusionOk="0">
                  <a:moveTo>
                    <a:pt x="1693331" y="0"/>
                  </a:moveTo>
                  <a:cubicBezTo>
                    <a:pt x="1724222" y="449254"/>
                    <a:pt x="1266748" y="778027"/>
                    <a:pt x="847425" y="767137"/>
                  </a:cubicBezTo>
                  <a:cubicBezTo>
                    <a:pt x="428171" y="778302"/>
                    <a:pt x="-29782" y="449254"/>
                    <a:pt x="1520" y="0"/>
                  </a:cubicBezTo>
                  <a:cubicBezTo>
                    <a:pt x="92960" y="926660"/>
                    <a:pt x="1602234" y="926660"/>
                    <a:pt x="1693331" y="0"/>
                  </a:cubicBezTo>
                  <a:close/>
                </a:path>
              </a:pathLst>
            </a:custGeom>
            <a:solidFill>
              <a:srgbClr val="85200C"/>
            </a:solidFill>
            <a:ln>
              <a:noFill/>
            </a:ln>
            <a:effectLst>
              <a:outerShdw blurRad="28575" dist="38100" dir="5400000" algn="bl" rotWithShape="0">
                <a:schemeClr val="dk1">
                  <a:alpha val="20000"/>
                </a:scheme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55;p11"/>
            <p:cNvSpPr/>
            <p:nvPr/>
          </p:nvSpPr>
          <p:spPr>
            <a:xfrm>
              <a:off x="4100210" y="4889162"/>
              <a:ext cx="195071" cy="325922"/>
            </a:xfrm>
            <a:custGeom>
              <a:avLst/>
              <a:gdLst/>
              <a:ahLst/>
              <a:cxnLst/>
              <a:rect l="l" t="t" r="r" b="b"/>
              <a:pathLst>
                <a:path w="195071" h="325922" extrusionOk="0">
                  <a:moveTo>
                    <a:pt x="0" y="138701"/>
                  </a:moveTo>
                  <a:cubicBezTo>
                    <a:pt x="10069" y="227196"/>
                    <a:pt x="32330" y="318567"/>
                    <a:pt x="80892" y="325554"/>
                  </a:cubicBezTo>
                  <a:cubicBezTo>
                    <a:pt x="160140" y="336787"/>
                    <a:pt x="187538" y="88426"/>
                    <a:pt x="195072" y="0"/>
                  </a:cubicBezTo>
                  <a:cubicBezTo>
                    <a:pt x="136660" y="54898"/>
                    <a:pt x="71036" y="101557"/>
                    <a:pt x="0" y="138701"/>
                  </a:cubicBezTo>
                  <a:close/>
                </a:path>
              </a:pathLst>
            </a:custGeom>
            <a:gradFill>
              <a:gsLst>
                <a:gs pos="0">
                  <a:srgbClr val="F0E0C7"/>
                </a:gs>
                <a:gs pos="50000">
                  <a:srgbClr val="F8F1E4"/>
                </a:gs>
                <a:gs pos="100000">
                  <a:schemeClr val="lt1"/>
                </a:gs>
              </a:gsLst>
              <a:lin ang="5400012" scaled="0"/>
            </a:gradFill>
            <a:ln>
              <a:noFill/>
            </a:ln>
            <a:effectLst>
              <a:outerShdw blurRad="14288" dist="28575" dir="5400000" algn="bl" rotWithShape="0">
                <a:schemeClr val="dk1">
                  <a:alpha val="30000"/>
                </a:scheme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56;p11"/>
            <p:cNvSpPr/>
            <p:nvPr/>
          </p:nvSpPr>
          <p:spPr>
            <a:xfrm>
              <a:off x="3037246" y="4887244"/>
              <a:ext cx="186715" cy="327842"/>
            </a:xfrm>
            <a:custGeom>
              <a:avLst/>
              <a:gdLst/>
              <a:ahLst/>
              <a:cxnLst/>
              <a:rect l="l" t="t" r="r" b="b"/>
              <a:pathLst>
                <a:path w="186715" h="327842" extrusionOk="0">
                  <a:moveTo>
                    <a:pt x="0" y="0"/>
                  </a:moveTo>
                  <a:cubicBezTo>
                    <a:pt x="822" y="82672"/>
                    <a:pt x="10206" y="316170"/>
                    <a:pt x="89043" y="327472"/>
                  </a:cubicBezTo>
                  <a:cubicBezTo>
                    <a:pt x="140413" y="334801"/>
                    <a:pt x="170140" y="232127"/>
                    <a:pt x="186716" y="135139"/>
                  </a:cubicBezTo>
                  <a:cubicBezTo>
                    <a:pt x="118797" y="98508"/>
                    <a:pt x="56015" y="53069"/>
                    <a:pt x="0" y="0"/>
                  </a:cubicBezTo>
                  <a:close/>
                </a:path>
              </a:pathLst>
            </a:custGeom>
            <a:gradFill>
              <a:gsLst>
                <a:gs pos="0">
                  <a:srgbClr val="F0E0C7"/>
                </a:gs>
                <a:gs pos="50000">
                  <a:srgbClr val="F8F1E4"/>
                </a:gs>
                <a:gs pos="100000">
                  <a:schemeClr val="lt1"/>
                </a:gs>
              </a:gsLst>
              <a:lin ang="5400012" scaled="0"/>
            </a:gradFill>
            <a:ln>
              <a:noFill/>
            </a:ln>
            <a:effectLst>
              <a:outerShdw blurRad="14288" dist="28575" dir="5400000" algn="bl" rotWithShape="0">
                <a:schemeClr val="dk1">
                  <a:alpha val="30000"/>
                </a:scheme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57" name="Google Shape;57;p11"/>
          <p:cNvGrpSpPr/>
          <p:nvPr/>
        </p:nvGrpSpPr>
        <p:grpSpPr>
          <a:xfrm>
            <a:off x="7841503" y="1016177"/>
            <a:ext cx="635108" cy="1001050"/>
            <a:chOff x="1620532" y="2740711"/>
            <a:chExt cx="745257" cy="1174666"/>
          </a:xfrm>
        </p:grpSpPr>
        <p:sp>
          <p:nvSpPr>
            <p:cNvPr id="58" name="Google Shape;58;p11"/>
            <p:cNvSpPr/>
            <p:nvPr/>
          </p:nvSpPr>
          <p:spPr>
            <a:xfrm>
              <a:off x="1620532" y="2740711"/>
              <a:ext cx="745257" cy="1174666"/>
            </a:xfrm>
            <a:custGeom>
              <a:avLst/>
              <a:gdLst/>
              <a:ahLst/>
              <a:cxnLst/>
              <a:rect l="l" t="t" r="r" b="b"/>
              <a:pathLst>
                <a:path w="745257" h="1174666" extrusionOk="0">
                  <a:moveTo>
                    <a:pt x="105526" y="385886"/>
                  </a:moveTo>
                  <a:cubicBezTo>
                    <a:pt x="105526" y="385886"/>
                    <a:pt x="389709" y="456640"/>
                    <a:pt x="547452" y="114511"/>
                  </a:cubicBezTo>
                  <a:cubicBezTo>
                    <a:pt x="625124" y="-53848"/>
                    <a:pt x="678481" y="-1313"/>
                    <a:pt x="704989" y="51359"/>
                  </a:cubicBezTo>
                  <a:cubicBezTo>
                    <a:pt x="763894" y="169032"/>
                    <a:pt x="825744" y="770550"/>
                    <a:pt x="360393" y="1174667"/>
                  </a:cubicBezTo>
                  <a:cubicBezTo>
                    <a:pt x="360257" y="1174598"/>
                    <a:pt x="-235850" y="1027952"/>
                    <a:pt x="105526" y="385886"/>
                  </a:cubicBezTo>
                  <a:close/>
                </a:path>
              </a:pathLst>
            </a:custGeom>
            <a:solidFill>
              <a:srgbClr val="F8F1E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59;p11"/>
            <p:cNvSpPr/>
            <p:nvPr/>
          </p:nvSpPr>
          <p:spPr>
            <a:xfrm>
              <a:off x="1763362" y="3112760"/>
              <a:ext cx="446402" cy="667683"/>
            </a:xfrm>
            <a:custGeom>
              <a:avLst/>
              <a:gdLst/>
              <a:ahLst/>
              <a:cxnLst/>
              <a:rect l="l" t="t" r="r" b="b"/>
              <a:pathLst>
                <a:path w="446402" h="667683" extrusionOk="0">
                  <a:moveTo>
                    <a:pt x="446403" y="526996"/>
                  </a:moveTo>
                  <a:cubicBezTo>
                    <a:pt x="278523" y="500214"/>
                    <a:pt x="48382" y="393843"/>
                    <a:pt x="145028" y="0"/>
                  </a:cubicBezTo>
                  <a:cubicBezTo>
                    <a:pt x="115342" y="10103"/>
                    <a:pt x="84506" y="16432"/>
                    <a:pt x="53245" y="18836"/>
                  </a:cubicBezTo>
                  <a:cubicBezTo>
                    <a:pt x="-14085" y="183222"/>
                    <a:pt x="-95456" y="533023"/>
                    <a:pt x="348456" y="667683"/>
                  </a:cubicBezTo>
                  <a:cubicBezTo>
                    <a:pt x="384785" y="623463"/>
                    <a:pt x="417539" y="576414"/>
                    <a:pt x="446403" y="526996"/>
                  </a:cubicBezTo>
                  <a:close/>
                </a:path>
              </a:pathLst>
            </a:custGeom>
            <a:solidFill>
              <a:srgbClr val="F0E0C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60;p11"/>
            <p:cNvSpPr/>
            <p:nvPr/>
          </p:nvSpPr>
          <p:spPr>
            <a:xfrm>
              <a:off x="1980517" y="3061527"/>
              <a:ext cx="341579" cy="420075"/>
            </a:xfrm>
            <a:custGeom>
              <a:avLst/>
              <a:gdLst/>
              <a:ahLst/>
              <a:cxnLst/>
              <a:rect l="l" t="t" r="r" b="b"/>
              <a:pathLst>
                <a:path w="341579" h="420075" extrusionOk="0">
                  <a:moveTo>
                    <a:pt x="26848" y="0"/>
                  </a:moveTo>
                  <a:cubicBezTo>
                    <a:pt x="18170" y="6301"/>
                    <a:pt x="9430" y="12103"/>
                    <a:pt x="614" y="17398"/>
                  </a:cubicBezTo>
                  <a:cubicBezTo>
                    <a:pt x="-5002" y="131783"/>
                    <a:pt x="22670" y="353020"/>
                    <a:pt x="305346" y="420076"/>
                  </a:cubicBezTo>
                  <a:cubicBezTo>
                    <a:pt x="319593" y="383294"/>
                    <a:pt x="331579" y="346719"/>
                    <a:pt x="341579" y="310485"/>
                  </a:cubicBezTo>
                  <a:cubicBezTo>
                    <a:pt x="258016" y="305280"/>
                    <a:pt x="119795" y="254114"/>
                    <a:pt x="26848" y="0"/>
                  </a:cubicBezTo>
                  <a:close/>
                </a:path>
              </a:pathLst>
            </a:custGeom>
            <a:solidFill>
              <a:srgbClr val="F0E0C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61;p11"/>
            <p:cNvSpPr/>
            <p:nvPr/>
          </p:nvSpPr>
          <p:spPr>
            <a:xfrm>
              <a:off x="2085517" y="2976457"/>
              <a:ext cx="278498" cy="208133"/>
            </a:xfrm>
            <a:custGeom>
              <a:avLst/>
              <a:gdLst/>
              <a:ahLst/>
              <a:cxnLst/>
              <a:rect l="l" t="t" r="r" b="b"/>
              <a:pathLst>
                <a:path w="278498" h="208133" extrusionOk="0">
                  <a:moveTo>
                    <a:pt x="9521" y="0"/>
                  </a:moveTo>
                  <a:cubicBezTo>
                    <a:pt x="6370" y="4041"/>
                    <a:pt x="3219" y="7877"/>
                    <a:pt x="0" y="11713"/>
                  </a:cubicBezTo>
                  <a:cubicBezTo>
                    <a:pt x="34795" y="89522"/>
                    <a:pt x="117468" y="221785"/>
                    <a:pt x="272744" y="206990"/>
                  </a:cubicBezTo>
                  <a:cubicBezTo>
                    <a:pt x="275416" y="182812"/>
                    <a:pt x="277334" y="159044"/>
                    <a:pt x="278498" y="136441"/>
                  </a:cubicBezTo>
                  <a:cubicBezTo>
                    <a:pt x="201168" y="146578"/>
                    <a:pt x="103906" y="122947"/>
                    <a:pt x="9521" y="0"/>
                  </a:cubicBezTo>
                  <a:close/>
                </a:path>
              </a:pathLst>
            </a:custGeom>
            <a:solidFill>
              <a:srgbClr val="F0E0C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62;p11"/>
            <p:cNvSpPr/>
            <p:nvPr/>
          </p:nvSpPr>
          <p:spPr>
            <a:xfrm>
              <a:off x="1623727" y="2881337"/>
              <a:ext cx="606150" cy="548531"/>
            </a:xfrm>
            <a:custGeom>
              <a:avLst/>
              <a:gdLst/>
              <a:ahLst/>
              <a:cxnLst/>
              <a:rect l="l" t="t" r="r" b="b"/>
              <a:pathLst>
                <a:path w="606150" h="548531" extrusionOk="0">
                  <a:moveTo>
                    <a:pt x="43768" y="373549"/>
                  </a:moveTo>
                  <a:cubicBezTo>
                    <a:pt x="21822" y="429769"/>
                    <a:pt x="7110" y="488551"/>
                    <a:pt x="0" y="548483"/>
                  </a:cubicBezTo>
                  <a:cubicBezTo>
                    <a:pt x="270142" y="552525"/>
                    <a:pt x="564668" y="299095"/>
                    <a:pt x="602340" y="72447"/>
                  </a:cubicBezTo>
                  <a:cubicBezTo>
                    <a:pt x="620217" y="-35089"/>
                    <a:pt x="570627" y="-3855"/>
                    <a:pt x="548161" y="44433"/>
                  </a:cubicBezTo>
                  <a:cubicBezTo>
                    <a:pt x="413980" y="333343"/>
                    <a:pt x="151099" y="356905"/>
                    <a:pt x="43768" y="373549"/>
                  </a:cubicBezTo>
                  <a:close/>
                </a:path>
              </a:pathLst>
            </a:custGeom>
            <a:solidFill>
              <a:srgbClr val="FFFFFF">
                <a:alpha val="5475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63" name="Google Shape;63;p11"/>
          <p:cNvGrpSpPr/>
          <p:nvPr/>
        </p:nvGrpSpPr>
        <p:grpSpPr>
          <a:xfrm>
            <a:off x="5377886" y="1016177"/>
            <a:ext cx="635075" cy="1001050"/>
            <a:chOff x="188982" y="2740711"/>
            <a:chExt cx="745218" cy="1174666"/>
          </a:xfrm>
        </p:grpSpPr>
        <p:sp>
          <p:nvSpPr>
            <p:cNvPr id="64" name="Google Shape;64;p11"/>
            <p:cNvSpPr/>
            <p:nvPr/>
          </p:nvSpPr>
          <p:spPr>
            <a:xfrm>
              <a:off x="188982" y="2740711"/>
              <a:ext cx="745218" cy="1174666"/>
            </a:xfrm>
            <a:custGeom>
              <a:avLst/>
              <a:gdLst/>
              <a:ahLst/>
              <a:cxnLst/>
              <a:rect l="l" t="t" r="r" b="b"/>
              <a:pathLst>
                <a:path w="745218" h="1174666" extrusionOk="0">
                  <a:moveTo>
                    <a:pt x="639800" y="385886"/>
                  </a:moveTo>
                  <a:cubicBezTo>
                    <a:pt x="639800" y="385886"/>
                    <a:pt x="355617" y="456640"/>
                    <a:pt x="197806" y="114511"/>
                  </a:cubicBezTo>
                  <a:cubicBezTo>
                    <a:pt x="120133" y="-53848"/>
                    <a:pt x="66844" y="-1313"/>
                    <a:pt x="40268" y="51359"/>
                  </a:cubicBezTo>
                  <a:cubicBezTo>
                    <a:pt x="-18637" y="169032"/>
                    <a:pt x="-80487" y="770550"/>
                    <a:pt x="384864" y="1174667"/>
                  </a:cubicBezTo>
                  <a:cubicBezTo>
                    <a:pt x="384864" y="1174598"/>
                    <a:pt x="980970" y="1027952"/>
                    <a:pt x="639800" y="385886"/>
                  </a:cubicBezTo>
                  <a:close/>
                </a:path>
              </a:pathLst>
            </a:custGeom>
            <a:solidFill>
              <a:srgbClr val="F8F1E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65;p11"/>
            <p:cNvSpPr/>
            <p:nvPr/>
          </p:nvSpPr>
          <p:spPr>
            <a:xfrm>
              <a:off x="344800" y="3112760"/>
              <a:ext cx="446368" cy="667683"/>
            </a:xfrm>
            <a:custGeom>
              <a:avLst/>
              <a:gdLst/>
              <a:ahLst/>
              <a:cxnLst/>
              <a:rect l="l" t="t" r="r" b="b"/>
              <a:pathLst>
                <a:path w="446368" h="667683" extrusionOk="0">
                  <a:moveTo>
                    <a:pt x="0" y="526996"/>
                  </a:moveTo>
                  <a:cubicBezTo>
                    <a:pt x="167948" y="500214"/>
                    <a:pt x="398021" y="393843"/>
                    <a:pt x="301375" y="0"/>
                  </a:cubicBezTo>
                  <a:cubicBezTo>
                    <a:pt x="331033" y="10110"/>
                    <a:pt x="361849" y="16439"/>
                    <a:pt x="393089" y="18836"/>
                  </a:cubicBezTo>
                  <a:cubicBezTo>
                    <a:pt x="460488" y="183222"/>
                    <a:pt x="541791" y="533023"/>
                    <a:pt x="97947" y="667683"/>
                  </a:cubicBezTo>
                  <a:cubicBezTo>
                    <a:pt x="61639" y="623443"/>
                    <a:pt x="28888" y="576401"/>
                    <a:pt x="0" y="526996"/>
                  </a:cubicBezTo>
                  <a:close/>
                </a:path>
              </a:pathLst>
            </a:custGeom>
            <a:solidFill>
              <a:srgbClr val="F0E0C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66;p11"/>
            <p:cNvSpPr/>
            <p:nvPr/>
          </p:nvSpPr>
          <p:spPr>
            <a:xfrm>
              <a:off x="232538" y="3061527"/>
              <a:ext cx="341567" cy="420075"/>
            </a:xfrm>
            <a:custGeom>
              <a:avLst/>
              <a:gdLst/>
              <a:ahLst/>
              <a:cxnLst/>
              <a:rect l="l" t="t" r="r" b="b"/>
              <a:pathLst>
                <a:path w="341567" h="420075" extrusionOk="0">
                  <a:moveTo>
                    <a:pt x="314663" y="0"/>
                  </a:moveTo>
                  <a:cubicBezTo>
                    <a:pt x="323430" y="6301"/>
                    <a:pt x="332198" y="12103"/>
                    <a:pt x="340965" y="17398"/>
                  </a:cubicBezTo>
                  <a:cubicBezTo>
                    <a:pt x="346513" y="131783"/>
                    <a:pt x="318910" y="353020"/>
                    <a:pt x="36234" y="420076"/>
                  </a:cubicBezTo>
                  <a:cubicBezTo>
                    <a:pt x="21987" y="383294"/>
                    <a:pt x="10000" y="346719"/>
                    <a:pt x="0" y="310485"/>
                  </a:cubicBezTo>
                  <a:cubicBezTo>
                    <a:pt x="83495" y="305280"/>
                    <a:pt x="221785" y="254114"/>
                    <a:pt x="314663" y="0"/>
                  </a:cubicBezTo>
                  <a:close/>
                </a:path>
              </a:pathLst>
            </a:custGeom>
            <a:solidFill>
              <a:srgbClr val="F0E0C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67;p11"/>
            <p:cNvSpPr/>
            <p:nvPr/>
          </p:nvSpPr>
          <p:spPr>
            <a:xfrm>
              <a:off x="190551" y="2976457"/>
              <a:ext cx="278498" cy="208133"/>
            </a:xfrm>
            <a:custGeom>
              <a:avLst/>
              <a:gdLst/>
              <a:ahLst/>
              <a:cxnLst/>
              <a:rect l="l" t="t" r="r" b="b"/>
              <a:pathLst>
                <a:path w="278498" h="208133" extrusionOk="0">
                  <a:moveTo>
                    <a:pt x="268977" y="0"/>
                  </a:moveTo>
                  <a:cubicBezTo>
                    <a:pt x="272128" y="4041"/>
                    <a:pt x="275347" y="7877"/>
                    <a:pt x="278498" y="11713"/>
                  </a:cubicBezTo>
                  <a:cubicBezTo>
                    <a:pt x="243703" y="89522"/>
                    <a:pt x="161099" y="221785"/>
                    <a:pt x="5754" y="206990"/>
                  </a:cubicBezTo>
                  <a:cubicBezTo>
                    <a:pt x="3082" y="182812"/>
                    <a:pt x="1233" y="159044"/>
                    <a:pt x="0" y="136441"/>
                  </a:cubicBezTo>
                  <a:cubicBezTo>
                    <a:pt x="77399" y="146578"/>
                    <a:pt x="174661" y="122947"/>
                    <a:pt x="268977" y="0"/>
                  </a:cubicBezTo>
                  <a:close/>
                </a:path>
              </a:pathLst>
            </a:custGeom>
            <a:solidFill>
              <a:srgbClr val="F0E0C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68;p11"/>
            <p:cNvSpPr/>
            <p:nvPr/>
          </p:nvSpPr>
          <p:spPr>
            <a:xfrm>
              <a:off x="324756" y="2881337"/>
              <a:ext cx="606150" cy="548531"/>
            </a:xfrm>
            <a:custGeom>
              <a:avLst/>
              <a:gdLst/>
              <a:ahLst/>
              <a:cxnLst/>
              <a:rect l="l" t="t" r="r" b="b"/>
              <a:pathLst>
                <a:path w="606150" h="548531" extrusionOk="0">
                  <a:moveTo>
                    <a:pt x="562383" y="373549"/>
                  </a:moveTo>
                  <a:cubicBezTo>
                    <a:pt x="584328" y="429769"/>
                    <a:pt x="599041" y="488551"/>
                    <a:pt x="606151" y="548483"/>
                  </a:cubicBezTo>
                  <a:cubicBezTo>
                    <a:pt x="336009" y="552525"/>
                    <a:pt x="41483" y="299095"/>
                    <a:pt x="3811" y="72447"/>
                  </a:cubicBezTo>
                  <a:cubicBezTo>
                    <a:pt x="-14066" y="-35089"/>
                    <a:pt x="35524" y="-3855"/>
                    <a:pt x="57921" y="44433"/>
                  </a:cubicBezTo>
                  <a:cubicBezTo>
                    <a:pt x="192170" y="333343"/>
                    <a:pt x="455052" y="356905"/>
                    <a:pt x="562383" y="373549"/>
                  </a:cubicBezTo>
                  <a:close/>
                </a:path>
              </a:pathLst>
            </a:custGeom>
            <a:solidFill>
              <a:srgbClr val="FFFFFF">
                <a:alpha val="5475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686DB88E-B783-41A7-98F3-D4C161FC80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2239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5" name="Google Shape;305;p22"/>
          <p:cNvSpPr txBox="1">
            <a:spLocks noGrp="1"/>
          </p:cNvSpPr>
          <p:nvPr>
            <p:ph type="title"/>
          </p:nvPr>
        </p:nvSpPr>
        <p:spPr>
          <a:xfrm>
            <a:off x="2169884" y="890298"/>
            <a:ext cx="4693500" cy="3969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MX" dirty="0"/>
              <a:t>CATEGORIES</a:t>
            </a:r>
            <a:endParaRPr dirty="0"/>
          </a:p>
        </p:txBody>
      </p:sp>
      <p:sp>
        <p:nvSpPr>
          <p:cNvPr id="306" name="Google Shape;306;p22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</a:t>
            </a:fld>
            <a:endParaRPr/>
          </a:p>
        </p:txBody>
      </p:sp>
      <p:grpSp>
        <p:nvGrpSpPr>
          <p:cNvPr id="307" name="Google Shape;307;p22"/>
          <p:cNvGrpSpPr/>
          <p:nvPr/>
        </p:nvGrpSpPr>
        <p:grpSpPr>
          <a:xfrm>
            <a:off x="5891852" y="865371"/>
            <a:ext cx="3157483" cy="3233149"/>
            <a:chOff x="5575395" y="955171"/>
            <a:chExt cx="3157483" cy="3233149"/>
          </a:xfrm>
        </p:grpSpPr>
        <p:grpSp>
          <p:nvGrpSpPr>
            <p:cNvPr id="308" name="Google Shape;308;p22"/>
            <p:cNvGrpSpPr/>
            <p:nvPr/>
          </p:nvGrpSpPr>
          <p:grpSpPr>
            <a:xfrm>
              <a:off x="6169433" y="3369626"/>
              <a:ext cx="1969582" cy="818694"/>
              <a:chOff x="6169433" y="3369626"/>
              <a:chExt cx="1969582" cy="818694"/>
            </a:xfrm>
          </p:grpSpPr>
          <p:sp>
            <p:nvSpPr>
              <p:cNvPr id="309" name="Google Shape;309;p22"/>
              <p:cNvSpPr/>
              <p:nvPr/>
            </p:nvSpPr>
            <p:spPr>
              <a:xfrm rot="10800000">
                <a:off x="6169433" y="3369626"/>
                <a:ext cx="1969582" cy="818694"/>
              </a:xfrm>
              <a:custGeom>
                <a:avLst/>
                <a:gdLst/>
                <a:ahLst/>
                <a:cxnLst/>
                <a:rect l="l" t="t" r="r" b="b"/>
                <a:pathLst>
                  <a:path w="2365864" h="983416" extrusionOk="0">
                    <a:moveTo>
                      <a:pt x="0" y="791179"/>
                    </a:moveTo>
                    <a:cubicBezTo>
                      <a:pt x="0" y="354253"/>
                      <a:pt x="529598" y="0"/>
                      <a:pt x="1182898" y="0"/>
                    </a:cubicBezTo>
                    <a:cubicBezTo>
                      <a:pt x="1836197" y="0"/>
                      <a:pt x="2365865" y="354253"/>
                      <a:pt x="2365865" y="791179"/>
                    </a:cubicBezTo>
                    <a:cubicBezTo>
                      <a:pt x="2365865" y="1228104"/>
                      <a:pt x="1836197" y="783576"/>
                      <a:pt x="1182898" y="783576"/>
                    </a:cubicBezTo>
                    <a:cubicBezTo>
                      <a:pt x="529598" y="783576"/>
                      <a:pt x="0" y="1228104"/>
                      <a:pt x="0" y="791179"/>
                    </a:cubicBezTo>
                    <a:close/>
                  </a:path>
                </a:pathLst>
              </a:custGeom>
              <a:solidFill>
                <a:srgbClr val="5B0F0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accent4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310;p22"/>
              <p:cNvSpPr/>
              <p:nvPr/>
            </p:nvSpPr>
            <p:spPr>
              <a:xfrm rot="10800000">
                <a:off x="7520552" y="3422053"/>
                <a:ext cx="237495" cy="379430"/>
              </a:xfrm>
              <a:custGeom>
                <a:avLst/>
                <a:gdLst/>
                <a:ahLst/>
                <a:cxnLst/>
                <a:rect l="l" t="t" r="r" b="b"/>
                <a:pathLst>
                  <a:path w="285279" h="455772" extrusionOk="0">
                    <a:moveTo>
                      <a:pt x="0" y="455773"/>
                    </a:moveTo>
                    <a:cubicBezTo>
                      <a:pt x="86303" y="430567"/>
                      <a:pt x="182195" y="401799"/>
                      <a:pt x="285279" y="377141"/>
                    </a:cubicBezTo>
                    <a:cubicBezTo>
                      <a:pt x="275279" y="230837"/>
                      <a:pt x="245005" y="11450"/>
                      <a:pt x="153838" y="422"/>
                    </a:cubicBezTo>
                    <a:cubicBezTo>
                      <a:pt x="44316" y="-13482"/>
                      <a:pt x="9589" y="320085"/>
                      <a:pt x="0" y="455773"/>
                    </a:cubicBezTo>
                    <a:close/>
                  </a:path>
                </a:pathLst>
              </a:custGeom>
              <a:gradFill>
                <a:gsLst>
                  <a:gs pos="0">
                    <a:srgbClr val="F0E0C7"/>
                  </a:gs>
                  <a:gs pos="50000">
                    <a:srgbClr val="F8F1E4"/>
                  </a:gs>
                  <a:gs pos="100000">
                    <a:schemeClr val="lt1"/>
                  </a:gs>
                </a:gsLst>
                <a:lin ang="16200038" scaled="0"/>
              </a:gradFill>
              <a:ln>
                <a:noFill/>
              </a:ln>
              <a:effectLst>
                <a:outerShdw blurRad="14288" dist="28575" dir="5400000" algn="bl" rotWithShape="0">
                  <a:schemeClr val="dk1">
                    <a:alpha val="30000"/>
                  </a:scheme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311;p22"/>
              <p:cNvSpPr/>
              <p:nvPr/>
            </p:nvSpPr>
            <p:spPr>
              <a:xfrm rot="10800000">
                <a:off x="6546927" y="3421483"/>
                <a:ext cx="235328" cy="380217"/>
              </a:xfrm>
              <a:custGeom>
                <a:avLst/>
                <a:gdLst/>
                <a:ahLst/>
                <a:cxnLst/>
                <a:rect l="l" t="t" r="r" b="b"/>
                <a:pathLst>
                  <a:path w="282676" h="456717" extrusionOk="0">
                    <a:moveTo>
                      <a:pt x="282676" y="456718"/>
                    </a:moveTo>
                    <a:cubicBezTo>
                      <a:pt x="278567" y="331510"/>
                      <a:pt x="257333" y="14107"/>
                      <a:pt x="147194" y="408"/>
                    </a:cubicBezTo>
                    <a:cubicBezTo>
                      <a:pt x="55070" y="-11099"/>
                      <a:pt x="15823" y="223152"/>
                      <a:pt x="0" y="378566"/>
                    </a:cubicBezTo>
                    <a:cubicBezTo>
                      <a:pt x="102125" y="403155"/>
                      <a:pt x="197127" y="431718"/>
                      <a:pt x="282676" y="456718"/>
                    </a:cubicBezTo>
                    <a:close/>
                  </a:path>
                </a:pathLst>
              </a:custGeom>
              <a:gradFill>
                <a:gsLst>
                  <a:gs pos="0">
                    <a:srgbClr val="F0E0C7"/>
                  </a:gs>
                  <a:gs pos="50000">
                    <a:srgbClr val="F8F1E4"/>
                  </a:gs>
                  <a:gs pos="100000">
                    <a:schemeClr val="lt1"/>
                  </a:gs>
                </a:gsLst>
                <a:lin ang="16200038" scaled="0"/>
              </a:gradFill>
              <a:ln>
                <a:noFill/>
              </a:ln>
              <a:effectLst>
                <a:outerShdw blurRad="14288" dist="28575" dir="5400000" algn="bl" rotWithShape="0">
                  <a:schemeClr val="dk1">
                    <a:alpha val="30000"/>
                  </a:scheme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312" name="Google Shape;312;p22"/>
            <p:cNvGrpSpPr/>
            <p:nvPr/>
          </p:nvGrpSpPr>
          <p:grpSpPr>
            <a:xfrm>
              <a:off x="8241903" y="1453229"/>
              <a:ext cx="490975" cy="773870"/>
              <a:chOff x="1620532" y="2740711"/>
              <a:chExt cx="745257" cy="1174666"/>
            </a:xfrm>
          </p:grpSpPr>
          <p:sp>
            <p:nvSpPr>
              <p:cNvPr id="313" name="Google Shape;313;p22"/>
              <p:cNvSpPr/>
              <p:nvPr/>
            </p:nvSpPr>
            <p:spPr>
              <a:xfrm>
                <a:off x="1620532" y="2740711"/>
                <a:ext cx="745257" cy="1174666"/>
              </a:xfrm>
              <a:custGeom>
                <a:avLst/>
                <a:gdLst/>
                <a:ahLst/>
                <a:cxnLst/>
                <a:rect l="l" t="t" r="r" b="b"/>
                <a:pathLst>
                  <a:path w="745257" h="1174666" extrusionOk="0">
                    <a:moveTo>
                      <a:pt x="105526" y="385886"/>
                    </a:moveTo>
                    <a:cubicBezTo>
                      <a:pt x="105526" y="385886"/>
                      <a:pt x="389709" y="456640"/>
                      <a:pt x="547452" y="114511"/>
                    </a:cubicBezTo>
                    <a:cubicBezTo>
                      <a:pt x="625124" y="-53848"/>
                      <a:pt x="678481" y="-1313"/>
                      <a:pt x="704989" y="51359"/>
                    </a:cubicBezTo>
                    <a:cubicBezTo>
                      <a:pt x="763894" y="169032"/>
                      <a:pt x="825744" y="770550"/>
                      <a:pt x="360393" y="1174667"/>
                    </a:cubicBezTo>
                    <a:cubicBezTo>
                      <a:pt x="360257" y="1174598"/>
                      <a:pt x="-235850" y="1027952"/>
                      <a:pt x="105526" y="385886"/>
                    </a:cubicBezTo>
                    <a:close/>
                  </a:path>
                </a:pathLst>
              </a:custGeom>
              <a:solidFill>
                <a:srgbClr val="F8F1E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314;p22"/>
              <p:cNvSpPr/>
              <p:nvPr/>
            </p:nvSpPr>
            <p:spPr>
              <a:xfrm>
                <a:off x="1763362" y="3112760"/>
                <a:ext cx="446402" cy="667683"/>
              </a:xfrm>
              <a:custGeom>
                <a:avLst/>
                <a:gdLst/>
                <a:ahLst/>
                <a:cxnLst/>
                <a:rect l="l" t="t" r="r" b="b"/>
                <a:pathLst>
                  <a:path w="446402" h="667683" extrusionOk="0">
                    <a:moveTo>
                      <a:pt x="446403" y="526996"/>
                    </a:moveTo>
                    <a:cubicBezTo>
                      <a:pt x="278523" y="500214"/>
                      <a:pt x="48382" y="393843"/>
                      <a:pt x="145028" y="0"/>
                    </a:cubicBezTo>
                    <a:cubicBezTo>
                      <a:pt x="115342" y="10103"/>
                      <a:pt x="84506" y="16432"/>
                      <a:pt x="53245" y="18836"/>
                    </a:cubicBezTo>
                    <a:cubicBezTo>
                      <a:pt x="-14085" y="183222"/>
                      <a:pt x="-95456" y="533023"/>
                      <a:pt x="348456" y="667683"/>
                    </a:cubicBezTo>
                    <a:cubicBezTo>
                      <a:pt x="384785" y="623463"/>
                      <a:pt x="417539" y="576414"/>
                      <a:pt x="446403" y="526996"/>
                    </a:cubicBezTo>
                    <a:close/>
                  </a:path>
                </a:pathLst>
              </a:custGeom>
              <a:solidFill>
                <a:srgbClr val="F0E0C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315;p22"/>
              <p:cNvSpPr/>
              <p:nvPr/>
            </p:nvSpPr>
            <p:spPr>
              <a:xfrm>
                <a:off x="1980517" y="3061527"/>
                <a:ext cx="341579" cy="420075"/>
              </a:xfrm>
              <a:custGeom>
                <a:avLst/>
                <a:gdLst/>
                <a:ahLst/>
                <a:cxnLst/>
                <a:rect l="l" t="t" r="r" b="b"/>
                <a:pathLst>
                  <a:path w="341579" h="420075" extrusionOk="0">
                    <a:moveTo>
                      <a:pt x="26848" y="0"/>
                    </a:moveTo>
                    <a:cubicBezTo>
                      <a:pt x="18170" y="6301"/>
                      <a:pt x="9430" y="12103"/>
                      <a:pt x="614" y="17398"/>
                    </a:cubicBezTo>
                    <a:cubicBezTo>
                      <a:pt x="-5002" y="131783"/>
                      <a:pt x="22670" y="353020"/>
                      <a:pt x="305346" y="420076"/>
                    </a:cubicBezTo>
                    <a:cubicBezTo>
                      <a:pt x="319593" y="383294"/>
                      <a:pt x="331579" y="346719"/>
                      <a:pt x="341579" y="310485"/>
                    </a:cubicBezTo>
                    <a:cubicBezTo>
                      <a:pt x="258016" y="305280"/>
                      <a:pt x="119795" y="254114"/>
                      <a:pt x="26848" y="0"/>
                    </a:cubicBezTo>
                    <a:close/>
                  </a:path>
                </a:pathLst>
              </a:custGeom>
              <a:solidFill>
                <a:srgbClr val="F0E0C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6" name="Google Shape;316;p22"/>
              <p:cNvSpPr/>
              <p:nvPr/>
            </p:nvSpPr>
            <p:spPr>
              <a:xfrm>
                <a:off x="2085517" y="2976457"/>
                <a:ext cx="278498" cy="208133"/>
              </a:xfrm>
              <a:custGeom>
                <a:avLst/>
                <a:gdLst/>
                <a:ahLst/>
                <a:cxnLst/>
                <a:rect l="l" t="t" r="r" b="b"/>
                <a:pathLst>
                  <a:path w="278498" h="208133" extrusionOk="0">
                    <a:moveTo>
                      <a:pt x="9521" y="0"/>
                    </a:moveTo>
                    <a:cubicBezTo>
                      <a:pt x="6370" y="4041"/>
                      <a:pt x="3219" y="7877"/>
                      <a:pt x="0" y="11713"/>
                    </a:cubicBezTo>
                    <a:cubicBezTo>
                      <a:pt x="34795" y="89522"/>
                      <a:pt x="117468" y="221785"/>
                      <a:pt x="272744" y="206990"/>
                    </a:cubicBezTo>
                    <a:cubicBezTo>
                      <a:pt x="275416" y="182812"/>
                      <a:pt x="277334" y="159044"/>
                      <a:pt x="278498" y="136441"/>
                    </a:cubicBezTo>
                    <a:cubicBezTo>
                      <a:pt x="201168" y="146578"/>
                      <a:pt x="103906" y="122947"/>
                      <a:pt x="9521" y="0"/>
                    </a:cubicBezTo>
                    <a:close/>
                  </a:path>
                </a:pathLst>
              </a:custGeom>
              <a:solidFill>
                <a:srgbClr val="F0E0C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317;p22"/>
              <p:cNvSpPr/>
              <p:nvPr/>
            </p:nvSpPr>
            <p:spPr>
              <a:xfrm>
                <a:off x="1623727" y="2881337"/>
                <a:ext cx="606150" cy="548531"/>
              </a:xfrm>
              <a:custGeom>
                <a:avLst/>
                <a:gdLst/>
                <a:ahLst/>
                <a:cxnLst/>
                <a:rect l="l" t="t" r="r" b="b"/>
                <a:pathLst>
                  <a:path w="606150" h="548531" extrusionOk="0">
                    <a:moveTo>
                      <a:pt x="43768" y="373549"/>
                    </a:moveTo>
                    <a:cubicBezTo>
                      <a:pt x="21822" y="429769"/>
                      <a:pt x="7110" y="488551"/>
                      <a:pt x="0" y="548483"/>
                    </a:cubicBezTo>
                    <a:cubicBezTo>
                      <a:pt x="270142" y="552525"/>
                      <a:pt x="564668" y="299095"/>
                      <a:pt x="602340" y="72447"/>
                    </a:cubicBezTo>
                    <a:cubicBezTo>
                      <a:pt x="620217" y="-35089"/>
                      <a:pt x="570627" y="-3855"/>
                      <a:pt x="548161" y="44433"/>
                    </a:cubicBezTo>
                    <a:cubicBezTo>
                      <a:pt x="413980" y="333343"/>
                      <a:pt x="151099" y="356905"/>
                      <a:pt x="43768" y="373549"/>
                    </a:cubicBezTo>
                    <a:close/>
                  </a:path>
                </a:pathLst>
              </a:custGeom>
              <a:solidFill>
                <a:srgbClr val="FFFFFF">
                  <a:alpha val="5475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318" name="Google Shape;318;p22"/>
            <p:cNvGrpSpPr/>
            <p:nvPr/>
          </p:nvGrpSpPr>
          <p:grpSpPr>
            <a:xfrm>
              <a:off x="5575395" y="1453229"/>
              <a:ext cx="490950" cy="773870"/>
              <a:chOff x="188982" y="2740711"/>
              <a:chExt cx="745218" cy="1174666"/>
            </a:xfrm>
          </p:grpSpPr>
          <p:sp>
            <p:nvSpPr>
              <p:cNvPr id="319" name="Google Shape;319;p22"/>
              <p:cNvSpPr/>
              <p:nvPr/>
            </p:nvSpPr>
            <p:spPr>
              <a:xfrm>
                <a:off x="188982" y="2740711"/>
                <a:ext cx="745218" cy="1174666"/>
              </a:xfrm>
              <a:custGeom>
                <a:avLst/>
                <a:gdLst/>
                <a:ahLst/>
                <a:cxnLst/>
                <a:rect l="l" t="t" r="r" b="b"/>
                <a:pathLst>
                  <a:path w="745218" h="1174666" extrusionOk="0">
                    <a:moveTo>
                      <a:pt x="639800" y="385886"/>
                    </a:moveTo>
                    <a:cubicBezTo>
                      <a:pt x="639800" y="385886"/>
                      <a:pt x="355617" y="456640"/>
                      <a:pt x="197806" y="114511"/>
                    </a:cubicBezTo>
                    <a:cubicBezTo>
                      <a:pt x="120133" y="-53848"/>
                      <a:pt x="66844" y="-1313"/>
                      <a:pt x="40268" y="51359"/>
                    </a:cubicBezTo>
                    <a:cubicBezTo>
                      <a:pt x="-18637" y="169032"/>
                      <a:pt x="-80487" y="770550"/>
                      <a:pt x="384864" y="1174667"/>
                    </a:cubicBezTo>
                    <a:cubicBezTo>
                      <a:pt x="384864" y="1174598"/>
                      <a:pt x="980970" y="1027952"/>
                      <a:pt x="639800" y="385886"/>
                    </a:cubicBezTo>
                    <a:close/>
                  </a:path>
                </a:pathLst>
              </a:custGeom>
              <a:solidFill>
                <a:srgbClr val="F8F1E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22"/>
              <p:cNvSpPr/>
              <p:nvPr/>
            </p:nvSpPr>
            <p:spPr>
              <a:xfrm>
                <a:off x="344800" y="3112760"/>
                <a:ext cx="446368" cy="667683"/>
              </a:xfrm>
              <a:custGeom>
                <a:avLst/>
                <a:gdLst/>
                <a:ahLst/>
                <a:cxnLst/>
                <a:rect l="l" t="t" r="r" b="b"/>
                <a:pathLst>
                  <a:path w="446368" h="667683" extrusionOk="0">
                    <a:moveTo>
                      <a:pt x="0" y="526996"/>
                    </a:moveTo>
                    <a:cubicBezTo>
                      <a:pt x="167948" y="500214"/>
                      <a:pt x="398021" y="393843"/>
                      <a:pt x="301375" y="0"/>
                    </a:cubicBezTo>
                    <a:cubicBezTo>
                      <a:pt x="331033" y="10110"/>
                      <a:pt x="361849" y="16439"/>
                      <a:pt x="393089" y="18836"/>
                    </a:cubicBezTo>
                    <a:cubicBezTo>
                      <a:pt x="460488" y="183222"/>
                      <a:pt x="541791" y="533023"/>
                      <a:pt x="97947" y="667683"/>
                    </a:cubicBezTo>
                    <a:cubicBezTo>
                      <a:pt x="61639" y="623443"/>
                      <a:pt x="28888" y="576401"/>
                      <a:pt x="0" y="526996"/>
                    </a:cubicBezTo>
                    <a:close/>
                  </a:path>
                </a:pathLst>
              </a:custGeom>
              <a:solidFill>
                <a:srgbClr val="F0E0C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1" name="Google Shape;321;p22"/>
              <p:cNvSpPr/>
              <p:nvPr/>
            </p:nvSpPr>
            <p:spPr>
              <a:xfrm>
                <a:off x="232538" y="3061527"/>
                <a:ext cx="341567" cy="420075"/>
              </a:xfrm>
              <a:custGeom>
                <a:avLst/>
                <a:gdLst/>
                <a:ahLst/>
                <a:cxnLst/>
                <a:rect l="l" t="t" r="r" b="b"/>
                <a:pathLst>
                  <a:path w="341567" h="420075" extrusionOk="0">
                    <a:moveTo>
                      <a:pt x="314663" y="0"/>
                    </a:moveTo>
                    <a:cubicBezTo>
                      <a:pt x="323430" y="6301"/>
                      <a:pt x="332198" y="12103"/>
                      <a:pt x="340965" y="17398"/>
                    </a:cubicBezTo>
                    <a:cubicBezTo>
                      <a:pt x="346513" y="131783"/>
                      <a:pt x="318910" y="353020"/>
                      <a:pt x="36234" y="420076"/>
                    </a:cubicBezTo>
                    <a:cubicBezTo>
                      <a:pt x="21987" y="383294"/>
                      <a:pt x="10000" y="346719"/>
                      <a:pt x="0" y="310485"/>
                    </a:cubicBezTo>
                    <a:cubicBezTo>
                      <a:pt x="83495" y="305280"/>
                      <a:pt x="221785" y="254114"/>
                      <a:pt x="314663" y="0"/>
                    </a:cubicBezTo>
                    <a:close/>
                  </a:path>
                </a:pathLst>
              </a:custGeom>
              <a:solidFill>
                <a:srgbClr val="F0E0C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2" name="Google Shape;322;p22"/>
              <p:cNvSpPr/>
              <p:nvPr/>
            </p:nvSpPr>
            <p:spPr>
              <a:xfrm>
                <a:off x="190551" y="2976457"/>
                <a:ext cx="278498" cy="208133"/>
              </a:xfrm>
              <a:custGeom>
                <a:avLst/>
                <a:gdLst/>
                <a:ahLst/>
                <a:cxnLst/>
                <a:rect l="l" t="t" r="r" b="b"/>
                <a:pathLst>
                  <a:path w="278498" h="208133" extrusionOk="0">
                    <a:moveTo>
                      <a:pt x="268977" y="0"/>
                    </a:moveTo>
                    <a:cubicBezTo>
                      <a:pt x="272128" y="4041"/>
                      <a:pt x="275347" y="7877"/>
                      <a:pt x="278498" y="11713"/>
                    </a:cubicBezTo>
                    <a:cubicBezTo>
                      <a:pt x="243703" y="89522"/>
                      <a:pt x="161099" y="221785"/>
                      <a:pt x="5754" y="206990"/>
                    </a:cubicBezTo>
                    <a:cubicBezTo>
                      <a:pt x="3082" y="182812"/>
                      <a:pt x="1233" y="159044"/>
                      <a:pt x="0" y="136441"/>
                    </a:cubicBezTo>
                    <a:cubicBezTo>
                      <a:pt x="77399" y="146578"/>
                      <a:pt x="174661" y="122947"/>
                      <a:pt x="268977" y="0"/>
                    </a:cubicBezTo>
                    <a:close/>
                  </a:path>
                </a:pathLst>
              </a:custGeom>
              <a:solidFill>
                <a:srgbClr val="F0E0C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3" name="Google Shape;323;p22"/>
              <p:cNvSpPr/>
              <p:nvPr/>
            </p:nvSpPr>
            <p:spPr>
              <a:xfrm>
                <a:off x="324756" y="2881337"/>
                <a:ext cx="606150" cy="548531"/>
              </a:xfrm>
              <a:custGeom>
                <a:avLst/>
                <a:gdLst/>
                <a:ahLst/>
                <a:cxnLst/>
                <a:rect l="l" t="t" r="r" b="b"/>
                <a:pathLst>
                  <a:path w="606150" h="548531" extrusionOk="0">
                    <a:moveTo>
                      <a:pt x="562383" y="373549"/>
                    </a:moveTo>
                    <a:cubicBezTo>
                      <a:pt x="584328" y="429769"/>
                      <a:pt x="599041" y="488551"/>
                      <a:pt x="606151" y="548483"/>
                    </a:cubicBezTo>
                    <a:cubicBezTo>
                      <a:pt x="336009" y="552525"/>
                      <a:pt x="41483" y="299095"/>
                      <a:pt x="3811" y="72447"/>
                    </a:cubicBezTo>
                    <a:cubicBezTo>
                      <a:pt x="-14066" y="-35089"/>
                      <a:pt x="35524" y="-3855"/>
                      <a:pt x="57921" y="44433"/>
                    </a:cubicBezTo>
                    <a:cubicBezTo>
                      <a:pt x="192170" y="333343"/>
                      <a:pt x="455052" y="356905"/>
                      <a:pt x="562383" y="373549"/>
                    </a:cubicBezTo>
                    <a:close/>
                  </a:path>
                </a:pathLst>
              </a:custGeom>
              <a:solidFill>
                <a:srgbClr val="FFFFFF">
                  <a:alpha val="5475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24" name="Google Shape;324;p22"/>
            <p:cNvSpPr/>
            <p:nvPr/>
          </p:nvSpPr>
          <p:spPr>
            <a:xfrm rot="10800000">
              <a:off x="6297810" y="955171"/>
              <a:ext cx="1808990" cy="1572953"/>
            </a:xfrm>
            <a:custGeom>
              <a:avLst/>
              <a:gdLst/>
              <a:ahLst/>
              <a:cxnLst/>
              <a:rect l="l" t="t" r="r" b="b"/>
              <a:pathLst>
                <a:path w="1256243" h="1404422" extrusionOk="0">
                  <a:moveTo>
                    <a:pt x="136989" y="466050"/>
                  </a:moveTo>
                  <a:cubicBezTo>
                    <a:pt x="136989" y="466050"/>
                    <a:pt x="267128" y="-13411"/>
                    <a:pt x="705492" y="288"/>
                  </a:cubicBezTo>
                  <a:cubicBezTo>
                    <a:pt x="1198652" y="15699"/>
                    <a:pt x="1243790" y="411254"/>
                    <a:pt x="1253447" y="589340"/>
                  </a:cubicBezTo>
                  <a:cubicBezTo>
                    <a:pt x="1267146" y="842769"/>
                    <a:pt x="1239748" y="1020854"/>
                    <a:pt x="958921" y="1150994"/>
                  </a:cubicBezTo>
                  <a:cubicBezTo>
                    <a:pt x="958921" y="1150994"/>
                    <a:pt x="1137007" y="911263"/>
                    <a:pt x="1013717" y="719479"/>
                  </a:cubicBezTo>
                  <a:cubicBezTo>
                    <a:pt x="1013717" y="719479"/>
                    <a:pt x="965771" y="1301681"/>
                    <a:pt x="404117" y="1404423"/>
                  </a:cubicBezTo>
                  <a:cubicBezTo>
                    <a:pt x="404117" y="1404423"/>
                    <a:pt x="657546" y="1157843"/>
                    <a:pt x="506858" y="801672"/>
                  </a:cubicBezTo>
                  <a:cubicBezTo>
                    <a:pt x="506858" y="801672"/>
                    <a:pt x="520557" y="1144144"/>
                    <a:pt x="123290" y="1130445"/>
                  </a:cubicBezTo>
                  <a:cubicBezTo>
                    <a:pt x="123290" y="1130445"/>
                    <a:pt x="363020" y="993457"/>
                    <a:pt x="294526" y="746877"/>
                  </a:cubicBezTo>
                  <a:cubicBezTo>
                    <a:pt x="253429" y="842769"/>
                    <a:pt x="157537" y="904414"/>
                    <a:pt x="0" y="870167"/>
                  </a:cubicBezTo>
                  <a:cubicBezTo>
                    <a:pt x="116440" y="801672"/>
                    <a:pt x="116440" y="561942"/>
                    <a:pt x="136989" y="466050"/>
                  </a:cubicBezTo>
                  <a:close/>
                </a:path>
              </a:pathLst>
            </a:custGeom>
            <a:gradFill>
              <a:gsLst>
                <a:gs pos="0">
                  <a:srgbClr val="FFFFFF">
                    <a:alpha val="0"/>
                  </a:srgbClr>
                </a:gs>
                <a:gs pos="65000">
                  <a:srgbClr val="FF4D6A"/>
                </a:gs>
                <a:gs pos="100000">
                  <a:srgbClr val="FF4D6A"/>
                </a:gs>
              </a:gsLst>
              <a:lin ang="5400012" scaled="0"/>
            </a:gradFill>
            <a:ln>
              <a:noFill/>
            </a:ln>
            <a:effectLst>
              <a:outerShdw blurRad="28575" dist="38100" dir="5400000" algn="bl" rotWithShape="0">
                <a:schemeClr val="dk1">
                  <a:alpha val="20000"/>
                </a:scheme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325" name="Google Shape;325;p22"/>
            <p:cNvGrpSpPr/>
            <p:nvPr/>
          </p:nvGrpSpPr>
          <p:grpSpPr>
            <a:xfrm>
              <a:off x="5738625" y="2150990"/>
              <a:ext cx="1316755" cy="1022671"/>
              <a:chOff x="2860826" y="401530"/>
              <a:chExt cx="2115269" cy="1642581"/>
            </a:xfrm>
          </p:grpSpPr>
          <p:sp>
            <p:nvSpPr>
              <p:cNvPr id="326" name="Google Shape;326;p22"/>
              <p:cNvSpPr/>
              <p:nvPr/>
            </p:nvSpPr>
            <p:spPr>
              <a:xfrm>
                <a:off x="2860826" y="401530"/>
                <a:ext cx="2115269" cy="1642581"/>
              </a:xfrm>
              <a:custGeom>
                <a:avLst/>
                <a:gdLst/>
                <a:ahLst/>
                <a:cxnLst/>
                <a:rect l="l" t="t" r="r" b="b"/>
                <a:pathLst>
                  <a:path w="2115269" h="1642581" extrusionOk="0">
                    <a:moveTo>
                      <a:pt x="245052" y="1642582"/>
                    </a:moveTo>
                    <a:cubicBezTo>
                      <a:pt x="509714" y="1619636"/>
                      <a:pt x="782253" y="1607649"/>
                      <a:pt x="1060477" y="1607649"/>
                    </a:cubicBezTo>
                    <a:cubicBezTo>
                      <a:pt x="1331715" y="1607649"/>
                      <a:pt x="1597541" y="1619088"/>
                      <a:pt x="1855902" y="1640869"/>
                    </a:cubicBezTo>
                    <a:cubicBezTo>
                      <a:pt x="1868690" y="1627170"/>
                      <a:pt x="1881060" y="1612992"/>
                      <a:pt x="1893026" y="1598334"/>
                    </a:cubicBezTo>
                    <a:cubicBezTo>
                      <a:pt x="1980028" y="1493928"/>
                      <a:pt x="2044145" y="1372426"/>
                      <a:pt x="2081249" y="1241684"/>
                    </a:cubicBezTo>
                    <a:cubicBezTo>
                      <a:pt x="2119756" y="1105894"/>
                      <a:pt x="2125668" y="962926"/>
                      <a:pt x="2098509" y="824416"/>
                    </a:cubicBezTo>
                    <a:cubicBezTo>
                      <a:pt x="2049057" y="569754"/>
                      <a:pt x="1935630" y="368312"/>
                      <a:pt x="1761449" y="225501"/>
                    </a:cubicBezTo>
                    <a:cubicBezTo>
                      <a:pt x="1578980" y="75910"/>
                      <a:pt x="1339797" y="18"/>
                      <a:pt x="1050682" y="18"/>
                    </a:cubicBezTo>
                    <a:cubicBezTo>
                      <a:pt x="903988" y="-836"/>
                      <a:pt x="758732" y="28980"/>
                      <a:pt x="624236" y="87554"/>
                    </a:cubicBezTo>
                    <a:cubicBezTo>
                      <a:pt x="501508" y="141599"/>
                      <a:pt x="390609" y="219263"/>
                      <a:pt x="297861" y="316119"/>
                    </a:cubicBezTo>
                    <a:cubicBezTo>
                      <a:pt x="101419" y="520575"/>
                      <a:pt x="-9679" y="802772"/>
                      <a:pt x="663" y="1071749"/>
                    </a:cubicBezTo>
                    <a:cubicBezTo>
                      <a:pt x="9088" y="1284356"/>
                      <a:pt x="94775" y="1483332"/>
                      <a:pt x="245052" y="1642582"/>
                    </a:cubicBezTo>
                    <a:close/>
                  </a:path>
                </a:pathLst>
              </a:custGeom>
              <a:solidFill>
                <a:srgbClr val="09052E">
                  <a:alpha val="1173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7" name="Google Shape;327;p22"/>
              <p:cNvSpPr/>
              <p:nvPr/>
            </p:nvSpPr>
            <p:spPr>
              <a:xfrm>
                <a:off x="2983792" y="475316"/>
                <a:ext cx="1869056" cy="1552082"/>
              </a:xfrm>
              <a:custGeom>
                <a:avLst/>
                <a:gdLst/>
                <a:ahLst/>
                <a:cxnLst/>
                <a:rect l="l" t="t" r="r" b="b"/>
                <a:pathLst>
                  <a:path w="1869056" h="1552082" extrusionOk="0">
                    <a:moveTo>
                      <a:pt x="347020" y="1552083"/>
                    </a:moveTo>
                    <a:cubicBezTo>
                      <a:pt x="540360" y="1540028"/>
                      <a:pt x="737185" y="1533952"/>
                      <a:pt x="937510" y="1533863"/>
                    </a:cubicBezTo>
                    <a:cubicBezTo>
                      <a:pt x="1132446" y="1533863"/>
                      <a:pt x="1324230" y="1539637"/>
                      <a:pt x="1512863" y="1551192"/>
                    </a:cubicBezTo>
                    <a:cubicBezTo>
                      <a:pt x="1766292" y="1362285"/>
                      <a:pt x="1918076" y="1051183"/>
                      <a:pt x="1854650" y="724876"/>
                    </a:cubicBezTo>
                    <a:cubicBezTo>
                      <a:pt x="1769717" y="285279"/>
                      <a:pt x="1464506" y="0"/>
                      <a:pt x="927716" y="0"/>
                    </a:cubicBezTo>
                    <a:cubicBezTo>
                      <a:pt x="337774" y="0"/>
                      <a:pt x="-16274" y="505694"/>
                      <a:pt x="576" y="943990"/>
                    </a:cubicBezTo>
                    <a:cubicBezTo>
                      <a:pt x="10028" y="1188583"/>
                      <a:pt x="140167" y="1406875"/>
                      <a:pt x="347020" y="155208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8" name="Google Shape;328;p22"/>
              <p:cNvSpPr/>
              <p:nvPr/>
            </p:nvSpPr>
            <p:spPr>
              <a:xfrm>
                <a:off x="3347496" y="964575"/>
                <a:ext cx="758060" cy="758156"/>
              </a:xfrm>
              <a:custGeom>
                <a:avLst/>
                <a:gdLst/>
                <a:ahLst/>
                <a:cxnLst/>
                <a:rect l="l" t="t" r="r" b="b"/>
                <a:pathLst>
                  <a:path w="758060" h="758156" extrusionOk="0">
                    <a:moveTo>
                      <a:pt x="724496" y="223151"/>
                    </a:moveTo>
                    <a:cubicBezTo>
                      <a:pt x="687310" y="294289"/>
                      <a:pt x="599493" y="321817"/>
                      <a:pt x="528355" y="284631"/>
                    </a:cubicBezTo>
                    <a:cubicBezTo>
                      <a:pt x="457217" y="247446"/>
                      <a:pt x="429689" y="159629"/>
                      <a:pt x="466875" y="88491"/>
                    </a:cubicBezTo>
                    <a:cubicBezTo>
                      <a:pt x="479923" y="63532"/>
                      <a:pt x="499937" y="42901"/>
                      <a:pt x="524492" y="29106"/>
                    </a:cubicBezTo>
                    <a:cubicBezTo>
                      <a:pt x="331208" y="-51203"/>
                      <a:pt x="109416" y="40382"/>
                      <a:pt x="29107" y="233665"/>
                    </a:cubicBezTo>
                    <a:cubicBezTo>
                      <a:pt x="-51203" y="426949"/>
                      <a:pt x="40381" y="648740"/>
                      <a:pt x="233665" y="729050"/>
                    </a:cubicBezTo>
                    <a:cubicBezTo>
                      <a:pt x="426949" y="809360"/>
                      <a:pt x="648741" y="717776"/>
                      <a:pt x="729051" y="524492"/>
                    </a:cubicBezTo>
                    <a:cubicBezTo>
                      <a:pt x="769257" y="427730"/>
                      <a:pt x="767606" y="318645"/>
                      <a:pt x="724496" y="223151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6"/>
                  </a:gs>
                  <a:gs pos="100000">
                    <a:srgbClr val="95F16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9" name="Google Shape;329;p22"/>
              <p:cNvSpPr/>
              <p:nvPr/>
            </p:nvSpPr>
            <p:spPr>
              <a:xfrm>
                <a:off x="3521371" y="1137272"/>
                <a:ext cx="411706" cy="411763"/>
              </a:xfrm>
              <a:custGeom>
                <a:avLst/>
                <a:gdLst/>
                <a:ahLst/>
                <a:cxnLst/>
                <a:rect l="l" t="t" r="r" b="b"/>
                <a:pathLst>
                  <a:path w="411706" h="411763" extrusionOk="0">
                    <a:moveTo>
                      <a:pt x="279862" y="13810"/>
                    </a:moveTo>
                    <a:cubicBezTo>
                      <a:pt x="173784" y="-27047"/>
                      <a:pt x="54666" y="25824"/>
                      <a:pt x="13809" y="131901"/>
                    </a:cubicBezTo>
                    <a:cubicBezTo>
                      <a:pt x="-27048" y="237978"/>
                      <a:pt x="25830" y="357097"/>
                      <a:pt x="131907" y="397954"/>
                    </a:cubicBezTo>
                    <a:cubicBezTo>
                      <a:pt x="237984" y="438811"/>
                      <a:pt x="357096" y="385940"/>
                      <a:pt x="397953" y="279863"/>
                    </a:cubicBezTo>
                    <a:cubicBezTo>
                      <a:pt x="417090" y="230170"/>
                      <a:pt x="416227" y="174998"/>
                      <a:pt x="395549" y="125935"/>
                    </a:cubicBezTo>
                    <a:cubicBezTo>
                      <a:pt x="337897" y="115325"/>
                      <a:pt x="292273" y="71105"/>
                      <a:pt x="279862" y="1381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0" name="Google Shape;330;p22"/>
              <p:cNvSpPr/>
              <p:nvPr/>
            </p:nvSpPr>
            <p:spPr>
              <a:xfrm>
                <a:off x="2983798" y="1299235"/>
                <a:ext cx="1868927" cy="728163"/>
              </a:xfrm>
              <a:custGeom>
                <a:avLst/>
                <a:gdLst/>
                <a:ahLst/>
                <a:cxnLst/>
                <a:rect l="l" t="t" r="r" b="b"/>
                <a:pathLst>
                  <a:path w="1868927" h="728163" extrusionOk="0">
                    <a:moveTo>
                      <a:pt x="347015" y="728164"/>
                    </a:moveTo>
                    <a:cubicBezTo>
                      <a:pt x="540354" y="716109"/>
                      <a:pt x="737179" y="710033"/>
                      <a:pt x="937505" y="709944"/>
                    </a:cubicBezTo>
                    <a:cubicBezTo>
                      <a:pt x="1132440" y="709944"/>
                      <a:pt x="1324224" y="715718"/>
                      <a:pt x="1512858" y="727273"/>
                    </a:cubicBezTo>
                    <a:cubicBezTo>
                      <a:pt x="1740396" y="557613"/>
                      <a:pt x="1886015" y="289457"/>
                      <a:pt x="1867316" y="0"/>
                    </a:cubicBezTo>
                    <a:cubicBezTo>
                      <a:pt x="1727793" y="347404"/>
                      <a:pt x="1367307" y="603915"/>
                      <a:pt x="963190" y="603915"/>
                    </a:cubicBezTo>
                    <a:cubicBezTo>
                      <a:pt x="507292" y="603915"/>
                      <a:pt x="141943" y="366308"/>
                      <a:pt x="1940" y="34795"/>
                    </a:cubicBezTo>
                    <a:cubicBezTo>
                      <a:pt x="-53" y="63172"/>
                      <a:pt x="-512" y="91639"/>
                      <a:pt x="570" y="120071"/>
                    </a:cubicBezTo>
                    <a:cubicBezTo>
                      <a:pt x="10022" y="364664"/>
                      <a:pt x="140162" y="582956"/>
                      <a:pt x="347015" y="72816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331" name="Google Shape;331;p22"/>
            <p:cNvGrpSpPr/>
            <p:nvPr/>
          </p:nvGrpSpPr>
          <p:grpSpPr>
            <a:xfrm>
              <a:off x="7270325" y="2150990"/>
              <a:ext cx="1316755" cy="1022671"/>
              <a:chOff x="2860826" y="401530"/>
              <a:chExt cx="2115269" cy="1642581"/>
            </a:xfrm>
          </p:grpSpPr>
          <p:sp>
            <p:nvSpPr>
              <p:cNvPr id="332" name="Google Shape;332;p22"/>
              <p:cNvSpPr/>
              <p:nvPr/>
            </p:nvSpPr>
            <p:spPr>
              <a:xfrm>
                <a:off x="2860826" y="401530"/>
                <a:ext cx="2115269" cy="1642581"/>
              </a:xfrm>
              <a:custGeom>
                <a:avLst/>
                <a:gdLst/>
                <a:ahLst/>
                <a:cxnLst/>
                <a:rect l="l" t="t" r="r" b="b"/>
                <a:pathLst>
                  <a:path w="2115269" h="1642581" extrusionOk="0">
                    <a:moveTo>
                      <a:pt x="245052" y="1642582"/>
                    </a:moveTo>
                    <a:cubicBezTo>
                      <a:pt x="509714" y="1619636"/>
                      <a:pt x="782253" y="1607649"/>
                      <a:pt x="1060477" y="1607649"/>
                    </a:cubicBezTo>
                    <a:cubicBezTo>
                      <a:pt x="1331715" y="1607649"/>
                      <a:pt x="1597541" y="1619088"/>
                      <a:pt x="1855902" y="1640869"/>
                    </a:cubicBezTo>
                    <a:cubicBezTo>
                      <a:pt x="1868690" y="1627170"/>
                      <a:pt x="1881060" y="1612992"/>
                      <a:pt x="1893026" y="1598334"/>
                    </a:cubicBezTo>
                    <a:cubicBezTo>
                      <a:pt x="1980028" y="1493928"/>
                      <a:pt x="2044145" y="1372426"/>
                      <a:pt x="2081249" y="1241684"/>
                    </a:cubicBezTo>
                    <a:cubicBezTo>
                      <a:pt x="2119756" y="1105894"/>
                      <a:pt x="2125668" y="962926"/>
                      <a:pt x="2098509" y="824416"/>
                    </a:cubicBezTo>
                    <a:cubicBezTo>
                      <a:pt x="2049057" y="569754"/>
                      <a:pt x="1935630" y="368312"/>
                      <a:pt x="1761449" y="225501"/>
                    </a:cubicBezTo>
                    <a:cubicBezTo>
                      <a:pt x="1578980" y="75910"/>
                      <a:pt x="1339797" y="18"/>
                      <a:pt x="1050682" y="18"/>
                    </a:cubicBezTo>
                    <a:cubicBezTo>
                      <a:pt x="903988" y="-836"/>
                      <a:pt x="758732" y="28980"/>
                      <a:pt x="624236" y="87554"/>
                    </a:cubicBezTo>
                    <a:cubicBezTo>
                      <a:pt x="501508" y="141599"/>
                      <a:pt x="390609" y="219263"/>
                      <a:pt x="297861" y="316119"/>
                    </a:cubicBezTo>
                    <a:cubicBezTo>
                      <a:pt x="101419" y="520575"/>
                      <a:pt x="-9679" y="802772"/>
                      <a:pt x="663" y="1071749"/>
                    </a:cubicBezTo>
                    <a:cubicBezTo>
                      <a:pt x="9088" y="1284356"/>
                      <a:pt x="94775" y="1483332"/>
                      <a:pt x="245052" y="1642582"/>
                    </a:cubicBezTo>
                    <a:close/>
                  </a:path>
                </a:pathLst>
              </a:custGeom>
              <a:solidFill>
                <a:srgbClr val="09052E">
                  <a:alpha val="1173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3" name="Google Shape;333;p22"/>
              <p:cNvSpPr/>
              <p:nvPr/>
            </p:nvSpPr>
            <p:spPr>
              <a:xfrm>
                <a:off x="2983792" y="475316"/>
                <a:ext cx="1869056" cy="1552082"/>
              </a:xfrm>
              <a:custGeom>
                <a:avLst/>
                <a:gdLst/>
                <a:ahLst/>
                <a:cxnLst/>
                <a:rect l="l" t="t" r="r" b="b"/>
                <a:pathLst>
                  <a:path w="1869056" h="1552082" extrusionOk="0">
                    <a:moveTo>
                      <a:pt x="347020" y="1552083"/>
                    </a:moveTo>
                    <a:cubicBezTo>
                      <a:pt x="540360" y="1540028"/>
                      <a:pt x="737185" y="1533952"/>
                      <a:pt x="937510" y="1533863"/>
                    </a:cubicBezTo>
                    <a:cubicBezTo>
                      <a:pt x="1132446" y="1533863"/>
                      <a:pt x="1324230" y="1539637"/>
                      <a:pt x="1512863" y="1551192"/>
                    </a:cubicBezTo>
                    <a:cubicBezTo>
                      <a:pt x="1766292" y="1362285"/>
                      <a:pt x="1918076" y="1051183"/>
                      <a:pt x="1854650" y="724876"/>
                    </a:cubicBezTo>
                    <a:cubicBezTo>
                      <a:pt x="1769717" y="285279"/>
                      <a:pt x="1464506" y="0"/>
                      <a:pt x="927716" y="0"/>
                    </a:cubicBezTo>
                    <a:cubicBezTo>
                      <a:pt x="337774" y="0"/>
                      <a:pt x="-16274" y="505694"/>
                      <a:pt x="576" y="943990"/>
                    </a:cubicBezTo>
                    <a:cubicBezTo>
                      <a:pt x="10028" y="1188583"/>
                      <a:pt x="140167" y="1406875"/>
                      <a:pt x="347020" y="155208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4" name="Google Shape;334;p22"/>
              <p:cNvSpPr/>
              <p:nvPr/>
            </p:nvSpPr>
            <p:spPr>
              <a:xfrm>
                <a:off x="3347496" y="964575"/>
                <a:ext cx="758060" cy="758156"/>
              </a:xfrm>
              <a:custGeom>
                <a:avLst/>
                <a:gdLst/>
                <a:ahLst/>
                <a:cxnLst/>
                <a:rect l="l" t="t" r="r" b="b"/>
                <a:pathLst>
                  <a:path w="758060" h="758156" extrusionOk="0">
                    <a:moveTo>
                      <a:pt x="724496" y="223151"/>
                    </a:moveTo>
                    <a:cubicBezTo>
                      <a:pt x="687310" y="294289"/>
                      <a:pt x="599493" y="321817"/>
                      <a:pt x="528355" y="284631"/>
                    </a:cubicBezTo>
                    <a:cubicBezTo>
                      <a:pt x="457217" y="247446"/>
                      <a:pt x="429689" y="159629"/>
                      <a:pt x="466875" y="88491"/>
                    </a:cubicBezTo>
                    <a:cubicBezTo>
                      <a:pt x="479923" y="63532"/>
                      <a:pt x="499937" y="42901"/>
                      <a:pt x="524492" y="29106"/>
                    </a:cubicBezTo>
                    <a:cubicBezTo>
                      <a:pt x="331208" y="-51203"/>
                      <a:pt x="109416" y="40382"/>
                      <a:pt x="29107" y="233665"/>
                    </a:cubicBezTo>
                    <a:cubicBezTo>
                      <a:pt x="-51203" y="426949"/>
                      <a:pt x="40381" y="648740"/>
                      <a:pt x="233665" y="729050"/>
                    </a:cubicBezTo>
                    <a:cubicBezTo>
                      <a:pt x="426949" y="809360"/>
                      <a:pt x="648741" y="717776"/>
                      <a:pt x="729051" y="524492"/>
                    </a:cubicBezTo>
                    <a:cubicBezTo>
                      <a:pt x="769257" y="427730"/>
                      <a:pt x="767606" y="318645"/>
                      <a:pt x="724496" y="223151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6"/>
                  </a:gs>
                  <a:gs pos="100000">
                    <a:srgbClr val="95F16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5" name="Google Shape;335;p22"/>
              <p:cNvSpPr/>
              <p:nvPr/>
            </p:nvSpPr>
            <p:spPr>
              <a:xfrm>
                <a:off x="3521371" y="1137272"/>
                <a:ext cx="411706" cy="411763"/>
              </a:xfrm>
              <a:custGeom>
                <a:avLst/>
                <a:gdLst/>
                <a:ahLst/>
                <a:cxnLst/>
                <a:rect l="l" t="t" r="r" b="b"/>
                <a:pathLst>
                  <a:path w="411706" h="411763" extrusionOk="0">
                    <a:moveTo>
                      <a:pt x="279862" y="13810"/>
                    </a:moveTo>
                    <a:cubicBezTo>
                      <a:pt x="173784" y="-27047"/>
                      <a:pt x="54666" y="25824"/>
                      <a:pt x="13809" y="131901"/>
                    </a:cubicBezTo>
                    <a:cubicBezTo>
                      <a:pt x="-27048" y="237978"/>
                      <a:pt x="25830" y="357097"/>
                      <a:pt x="131907" y="397954"/>
                    </a:cubicBezTo>
                    <a:cubicBezTo>
                      <a:pt x="237984" y="438811"/>
                      <a:pt x="357096" y="385940"/>
                      <a:pt x="397953" y="279863"/>
                    </a:cubicBezTo>
                    <a:cubicBezTo>
                      <a:pt x="417090" y="230170"/>
                      <a:pt x="416227" y="174998"/>
                      <a:pt x="395549" y="125935"/>
                    </a:cubicBezTo>
                    <a:cubicBezTo>
                      <a:pt x="337897" y="115325"/>
                      <a:pt x="292273" y="71105"/>
                      <a:pt x="279862" y="1381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6" name="Google Shape;336;p22"/>
              <p:cNvSpPr/>
              <p:nvPr/>
            </p:nvSpPr>
            <p:spPr>
              <a:xfrm>
                <a:off x="2983798" y="1299235"/>
                <a:ext cx="1868927" cy="728163"/>
              </a:xfrm>
              <a:custGeom>
                <a:avLst/>
                <a:gdLst/>
                <a:ahLst/>
                <a:cxnLst/>
                <a:rect l="l" t="t" r="r" b="b"/>
                <a:pathLst>
                  <a:path w="1868927" h="728163" extrusionOk="0">
                    <a:moveTo>
                      <a:pt x="347015" y="728164"/>
                    </a:moveTo>
                    <a:cubicBezTo>
                      <a:pt x="540354" y="716109"/>
                      <a:pt x="737179" y="710033"/>
                      <a:pt x="937505" y="709944"/>
                    </a:cubicBezTo>
                    <a:cubicBezTo>
                      <a:pt x="1132440" y="709944"/>
                      <a:pt x="1324224" y="715718"/>
                      <a:pt x="1512858" y="727273"/>
                    </a:cubicBezTo>
                    <a:cubicBezTo>
                      <a:pt x="1740396" y="557613"/>
                      <a:pt x="1886015" y="289457"/>
                      <a:pt x="1867316" y="0"/>
                    </a:cubicBezTo>
                    <a:cubicBezTo>
                      <a:pt x="1727793" y="347404"/>
                      <a:pt x="1367307" y="603915"/>
                      <a:pt x="963190" y="603915"/>
                    </a:cubicBezTo>
                    <a:cubicBezTo>
                      <a:pt x="507292" y="603915"/>
                      <a:pt x="141943" y="366308"/>
                      <a:pt x="1940" y="34795"/>
                    </a:cubicBezTo>
                    <a:cubicBezTo>
                      <a:pt x="-53" y="63172"/>
                      <a:pt x="-512" y="91639"/>
                      <a:pt x="570" y="120071"/>
                    </a:cubicBezTo>
                    <a:cubicBezTo>
                      <a:pt x="10022" y="364664"/>
                      <a:pt x="140162" y="582956"/>
                      <a:pt x="347015" y="72816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9" name="Google Shape;339;p22"/>
          <p:cNvSpPr/>
          <p:nvPr/>
        </p:nvSpPr>
        <p:spPr>
          <a:xfrm>
            <a:off x="2689976" y="929427"/>
            <a:ext cx="1478810" cy="442500"/>
          </a:xfrm>
          <a:prstGeom prst="roundRect">
            <a:avLst>
              <a:gd name="adj" fmla="val 50000"/>
            </a:avLst>
          </a:prstGeom>
          <a:noFill/>
          <a:ln>
            <a:noFill/>
          </a:ln>
          <a:effectLst>
            <a:outerShdw blurRad="28575" dist="9525" dir="5400000" algn="bl" rotWithShape="0">
              <a:schemeClr val="dk1">
                <a:alpha val="25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MX" dirty="0">
                <a:solidFill>
                  <a:schemeClr val="accent4"/>
                </a:solidFill>
                <a:latin typeface="Quicksand Light"/>
                <a:ea typeface="Quicksand Light"/>
                <a:cs typeface="Quicksand Light"/>
                <a:sym typeface="Quicksand Light"/>
              </a:rPr>
              <a:t> </a:t>
            </a:r>
            <a:endParaRPr dirty="0">
              <a:solidFill>
                <a:schemeClr val="accent4"/>
              </a:solidFill>
              <a:latin typeface="Quicksand Light"/>
              <a:ea typeface="Quicksand Light"/>
              <a:cs typeface="Quicksand Light"/>
              <a:sym typeface="Quicksand Light"/>
            </a:endParaRPr>
          </a:p>
        </p:txBody>
      </p:sp>
      <p:sp>
        <p:nvSpPr>
          <p:cNvPr id="340" name="Google Shape;340;p22"/>
          <p:cNvSpPr/>
          <p:nvPr/>
        </p:nvSpPr>
        <p:spPr>
          <a:xfrm>
            <a:off x="615104" y="1855133"/>
            <a:ext cx="1103100" cy="442500"/>
          </a:xfrm>
          <a:prstGeom prst="roundRect">
            <a:avLst>
              <a:gd name="adj" fmla="val 50000"/>
            </a:avLst>
          </a:prstGeom>
          <a:solidFill>
            <a:schemeClr val="lt1"/>
          </a:solidFill>
          <a:ln>
            <a:noFill/>
          </a:ln>
          <a:effectLst>
            <a:outerShdw blurRad="28575" dist="9525" dir="5400000" algn="bl" rotWithShape="0">
              <a:schemeClr val="dk1">
                <a:alpha val="25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 dirty="0">
                <a:solidFill>
                  <a:schemeClr val="accent3"/>
                </a:solidFill>
                <a:latin typeface="Quicksand Light"/>
                <a:ea typeface="Quicksand Light"/>
                <a:cs typeface="Quicksand Light"/>
                <a:sym typeface="Quicksand Light"/>
              </a:rPr>
              <a:t>Pa</a:t>
            </a:r>
            <a:r>
              <a:rPr lang="en-US" sz="1000" dirty="0" err="1">
                <a:solidFill>
                  <a:schemeClr val="accent3"/>
                </a:solidFill>
                <a:latin typeface="Quicksand Light"/>
                <a:ea typeface="Quicksand Light"/>
                <a:cs typeface="Quicksand Light"/>
                <a:sym typeface="Quicksand Light"/>
              </a:rPr>
              <a:t>ís</a:t>
            </a:r>
            <a:r>
              <a:rPr lang="es-MX" sz="1000" dirty="0">
                <a:solidFill>
                  <a:schemeClr val="accent3"/>
                </a:solidFill>
                <a:latin typeface="Quicksand Light"/>
                <a:ea typeface="Quicksand Light"/>
                <a:cs typeface="Quicksand Light"/>
                <a:sym typeface="Quicksand Light"/>
              </a:rPr>
              <a:t>es</a:t>
            </a:r>
            <a:endParaRPr lang="es-MX" dirty="0">
              <a:solidFill>
                <a:schemeClr val="accent3"/>
              </a:solidFill>
              <a:latin typeface="Quicksand Light"/>
              <a:ea typeface="Quicksand Light"/>
              <a:cs typeface="Quicksand Light"/>
              <a:sym typeface="Quicksand Light"/>
            </a:endParaRPr>
          </a:p>
        </p:txBody>
      </p:sp>
      <p:sp>
        <p:nvSpPr>
          <p:cNvPr id="341" name="Google Shape;341;p22"/>
          <p:cNvSpPr/>
          <p:nvPr/>
        </p:nvSpPr>
        <p:spPr>
          <a:xfrm>
            <a:off x="2491885" y="1889900"/>
            <a:ext cx="1103100" cy="442500"/>
          </a:xfrm>
          <a:prstGeom prst="roundRect">
            <a:avLst>
              <a:gd name="adj" fmla="val 50000"/>
            </a:avLst>
          </a:prstGeom>
          <a:solidFill>
            <a:schemeClr val="lt1"/>
          </a:solidFill>
          <a:ln>
            <a:noFill/>
          </a:ln>
          <a:effectLst>
            <a:outerShdw blurRad="28575" dist="9525" dir="5400000" algn="bl" rotWithShape="0">
              <a:schemeClr val="dk1">
                <a:alpha val="25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MX" sz="1000" dirty="0">
                <a:solidFill>
                  <a:schemeClr val="accent3"/>
                </a:solidFill>
                <a:latin typeface="Quicksand Light"/>
                <a:ea typeface="Quicksand Light"/>
                <a:cs typeface="Quicksand Light"/>
                <a:sym typeface="Quicksand Light"/>
              </a:rPr>
              <a:t>Animales</a:t>
            </a:r>
            <a:endParaRPr sz="1000" dirty="0">
              <a:solidFill>
                <a:schemeClr val="accent3"/>
              </a:solidFill>
              <a:latin typeface="Quicksand Light"/>
              <a:ea typeface="Quicksand Light"/>
              <a:cs typeface="Quicksand Light"/>
              <a:sym typeface="Quicksand Light"/>
            </a:endParaRPr>
          </a:p>
        </p:txBody>
      </p:sp>
      <p:cxnSp>
        <p:nvCxnSpPr>
          <p:cNvPr id="346" name="Google Shape;346;p22"/>
          <p:cNvCxnSpPr>
            <a:cxnSpLocks/>
            <a:stCxn id="339" idx="2"/>
            <a:endCxn id="341" idx="0"/>
          </p:cNvCxnSpPr>
          <p:nvPr/>
        </p:nvCxnSpPr>
        <p:spPr>
          <a:xfrm rot="5400000">
            <a:off x="2977422" y="1437940"/>
            <a:ext cx="517973" cy="385946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47" name="Google Shape;347;p22"/>
          <p:cNvCxnSpPr>
            <a:cxnSpLocks/>
            <a:stCxn id="340" idx="0"/>
            <a:endCxn id="339" idx="2"/>
          </p:cNvCxnSpPr>
          <p:nvPr/>
        </p:nvCxnSpPr>
        <p:spPr>
          <a:xfrm rot="5400000" flipH="1" flipV="1">
            <a:off x="2056414" y="482167"/>
            <a:ext cx="483206" cy="2262727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7" name="Google Shape;341;p22">
            <a:extLst>
              <a:ext uri="{FF2B5EF4-FFF2-40B4-BE49-F238E27FC236}">
                <a16:creationId xmlns:a16="http://schemas.microsoft.com/office/drawing/2014/main" id="{D958DF01-8548-4B5B-99C4-75E4FB2FDA43}"/>
              </a:ext>
            </a:extLst>
          </p:cNvPr>
          <p:cNvSpPr/>
          <p:nvPr/>
        </p:nvSpPr>
        <p:spPr>
          <a:xfrm>
            <a:off x="4418294" y="1862824"/>
            <a:ext cx="1103100" cy="442500"/>
          </a:xfrm>
          <a:prstGeom prst="roundRect">
            <a:avLst>
              <a:gd name="adj" fmla="val 50000"/>
            </a:avLst>
          </a:prstGeom>
          <a:solidFill>
            <a:schemeClr val="lt1"/>
          </a:solidFill>
          <a:ln>
            <a:noFill/>
          </a:ln>
          <a:effectLst>
            <a:outerShdw blurRad="28575" dist="9525" dir="5400000" algn="bl" rotWithShape="0">
              <a:schemeClr val="dk1">
                <a:alpha val="25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 dirty="0">
                <a:solidFill>
                  <a:schemeClr val="accent3"/>
                </a:solidFill>
                <a:latin typeface="Quicksand Light"/>
                <a:ea typeface="Quicksand Light"/>
                <a:cs typeface="Quicksand Light"/>
                <a:sym typeface="Quicksand Light"/>
              </a:rPr>
              <a:t>Pel</a:t>
            </a:r>
            <a:r>
              <a:rPr lang="en-US" sz="1000" dirty="0">
                <a:solidFill>
                  <a:schemeClr val="accent3"/>
                </a:solidFill>
                <a:latin typeface="Quicksand Light"/>
                <a:ea typeface="Quicksand Light"/>
                <a:cs typeface="Quicksand Light"/>
                <a:sym typeface="Quicksand Light"/>
              </a:rPr>
              <a:t>í</a:t>
            </a:r>
            <a:r>
              <a:rPr lang="en" sz="1000" dirty="0">
                <a:solidFill>
                  <a:schemeClr val="accent3"/>
                </a:solidFill>
                <a:latin typeface="Quicksand Light"/>
                <a:ea typeface="Quicksand Light"/>
                <a:cs typeface="Quicksand Light"/>
                <a:sym typeface="Quicksand Light"/>
              </a:rPr>
              <a:t>cu</a:t>
            </a:r>
            <a:r>
              <a:rPr lang="en-US" sz="1000" dirty="0">
                <a:solidFill>
                  <a:schemeClr val="accent3"/>
                </a:solidFill>
                <a:latin typeface="Quicksand Light"/>
                <a:ea typeface="Quicksand Light"/>
                <a:cs typeface="Quicksand Light"/>
                <a:sym typeface="Quicksand Light"/>
              </a:rPr>
              <a:t>las Disney</a:t>
            </a:r>
            <a:endParaRPr dirty="0">
              <a:solidFill>
                <a:schemeClr val="accent3"/>
              </a:solidFill>
              <a:latin typeface="Quicksand Light"/>
              <a:ea typeface="Quicksand Light"/>
              <a:cs typeface="Quicksand Light"/>
              <a:sym typeface="Quicksand Light"/>
            </a:endParaRPr>
          </a:p>
        </p:txBody>
      </p:sp>
      <p:cxnSp>
        <p:nvCxnSpPr>
          <p:cNvPr id="48" name="Google Shape;346;p22">
            <a:extLst>
              <a:ext uri="{FF2B5EF4-FFF2-40B4-BE49-F238E27FC236}">
                <a16:creationId xmlns:a16="http://schemas.microsoft.com/office/drawing/2014/main" id="{E4B81158-DC68-4B03-A95B-D87A0AE3B863}"/>
              </a:ext>
            </a:extLst>
          </p:cNvPr>
          <p:cNvCxnSpPr>
            <a:cxnSpLocks/>
            <a:stCxn id="339" idx="2"/>
            <a:endCxn id="47" idx="0"/>
          </p:cNvCxnSpPr>
          <p:nvPr/>
        </p:nvCxnSpPr>
        <p:spPr>
          <a:xfrm rot="16200000" flipH="1">
            <a:off x="3954164" y="847143"/>
            <a:ext cx="490897" cy="1540463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4" name="Google Shape;340;p22">
            <a:extLst>
              <a:ext uri="{FF2B5EF4-FFF2-40B4-BE49-F238E27FC236}">
                <a16:creationId xmlns:a16="http://schemas.microsoft.com/office/drawing/2014/main" id="{102BAD3F-F8E6-493F-928A-4B9C7E4382C0}"/>
              </a:ext>
            </a:extLst>
          </p:cNvPr>
          <p:cNvSpPr/>
          <p:nvPr/>
        </p:nvSpPr>
        <p:spPr>
          <a:xfrm>
            <a:off x="3739171" y="2828337"/>
            <a:ext cx="1103100" cy="442500"/>
          </a:xfrm>
          <a:prstGeom prst="roundRect">
            <a:avLst>
              <a:gd name="adj" fmla="val 50000"/>
            </a:avLst>
          </a:prstGeom>
          <a:solidFill>
            <a:schemeClr val="lt1"/>
          </a:solidFill>
          <a:ln>
            <a:noFill/>
          </a:ln>
          <a:effectLst>
            <a:outerShdw blurRad="28575" dist="9525" dir="5400000" algn="bl" rotWithShape="0">
              <a:schemeClr val="dk1">
                <a:alpha val="25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 dirty="0">
                <a:solidFill>
                  <a:schemeClr val="accent3"/>
                </a:solidFill>
                <a:latin typeface="Quicksand Light"/>
                <a:ea typeface="Quicksand Light"/>
                <a:cs typeface="Quicksand Light"/>
                <a:sym typeface="Quicksand Light"/>
              </a:rPr>
              <a:t>Basico</a:t>
            </a:r>
            <a:endParaRPr lang="es-MX" dirty="0">
              <a:solidFill>
                <a:schemeClr val="accent3"/>
              </a:solidFill>
              <a:latin typeface="Quicksand Light"/>
              <a:ea typeface="Quicksand Light"/>
              <a:cs typeface="Quicksand Light"/>
              <a:sym typeface="Quicksand Light"/>
            </a:endParaRPr>
          </a:p>
        </p:txBody>
      </p:sp>
      <p:sp>
        <p:nvSpPr>
          <p:cNvPr id="66" name="Google Shape;340;p22">
            <a:extLst>
              <a:ext uri="{FF2B5EF4-FFF2-40B4-BE49-F238E27FC236}">
                <a16:creationId xmlns:a16="http://schemas.microsoft.com/office/drawing/2014/main" id="{D59921A5-F121-4CCB-A692-0B843D909CB9}"/>
              </a:ext>
            </a:extLst>
          </p:cNvPr>
          <p:cNvSpPr/>
          <p:nvPr/>
        </p:nvSpPr>
        <p:spPr>
          <a:xfrm>
            <a:off x="4937442" y="2828113"/>
            <a:ext cx="1103100" cy="442500"/>
          </a:xfrm>
          <a:prstGeom prst="roundRect">
            <a:avLst>
              <a:gd name="adj" fmla="val 50000"/>
            </a:avLst>
          </a:prstGeom>
          <a:solidFill>
            <a:schemeClr val="lt1"/>
          </a:solidFill>
          <a:ln>
            <a:noFill/>
          </a:ln>
          <a:effectLst>
            <a:outerShdw blurRad="28575" dist="9525" dir="5400000" algn="bl" rotWithShape="0">
              <a:schemeClr val="dk1">
                <a:alpha val="25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 dirty="0">
                <a:solidFill>
                  <a:schemeClr val="accent3"/>
                </a:solidFill>
                <a:latin typeface="Quicksand Light"/>
                <a:ea typeface="Quicksand Light"/>
                <a:cs typeface="Quicksand Light"/>
                <a:sym typeface="Quicksand Light"/>
              </a:rPr>
              <a:t>Medio</a:t>
            </a:r>
            <a:endParaRPr lang="es-MX" dirty="0">
              <a:solidFill>
                <a:schemeClr val="accent3"/>
              </a:solidFill>
              <a:latin typeface="Quicksand Light"/>
              <a:ea typeface="Quicksand Light"/>
              <a:cs typeface="Quicksand Light"/>
              <a:sym typeface="Quicksand Light"/>
            </a:endParaRPr>
          </a:p>
        </p:txBody>
      </p:sp>
      <p:cxnSp>
        <p:nvCxnSpPr>
          <p:cNvPr id="67" name="Google Shape;346;p22">
            <a:extLst>
              <a:ext uri="{FF2B5EF4-FFF2-40B4-BE49-F238E27FC236}">
                <a16:creationId xmlns:a16="http://schemas.microsoft.com/office/drawing/2014/main" id="{AEA6864D-6ED5-46F8-A0D9-1E61E2CE613A}"/>
              </a:ext>
            </a:extLst>
          </p:cNvPr>
          <p:cNvCxnSpPr>
            <a:cxnSpLocks/>
            <a:stCxn id="47" idx="2"/>
            <a:endCxn id="66" idx="0"/>
          </p:cNvCxnSpPr>
          <p:nvPr/>
        </p:nvCxnSpPr>
        <p:spPr>
          <a:xfrm rot="16200000" flipH="1">
            <a:off x="4968024" y="2307144"/>
            <a:ext cx="522789" cy="519148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1" name="Google Shape;346;p22">
            <a:extLst>
              <a:ext uri="{FF2B5EF4-FFF2-40B4-BE49-F238E27FC236}">
                <a16:creationId xmlns:a16="http://schemas.microsoft.com/office/drawing/2014/main" id="{DD1800BD-65CA-4B1F-BBFF-5F49CF380514}"/>
              </a:ext>
            </a:extLst>
          </p:cNvPr>
          <p:cNvCxnSpPr>
            <a:cxnSpLocks/>
            <a:stCxn id="47" idx="2"/>
            <a:endCxn id="64" idx="0"/>
          </p:cNvCxnSpPr>
          <p:nvPr/>
        </p:nvCxnSpPr>
        <p:spPr>
          <a:xfrm rot="5400000">
            <a:off x="4368777" y="2227269"/>
            <a:ext cx="523013" cy="679123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7" name="Google Shape;340;p22">
            <a:extLst>
              <a:ext uri="{FF2B5EF4-FFF2-40B4-BE49-F238E27FC236}">
                <a16:creationId xmlns:a16="http://schemas.microsoft.com/office/drawing/2014/main" id="{C98DC595-9896-4210-82AB-DD99F95CBF56}"/>
              </a:ext>
            </a:extLst>
          </p:cNvPr>
          <p:cNvSpPr/>
          <p:nvPr/>
        </p:nvSpPr>
        <p:spPr>
          <a:xfrm>
            <a:off x="3096512" y="3696340"/>
            <a:ext cx="1103100" cy="442500"/>
          </a:xfrm>
          <a:prstGeom prst="roundRect">
            <a:avLst>
              <a:gd name="adj" fmla="val 50000"/>
            </a:avLst>
          </a:prstGeom>
          <a:solidFill>
            <a:schemeClr val="lt1"/>
          </a:solidFill>
          <a:ln>
            <a:noFill/>
          </a:ln>
          <a:effectLst>
            <a:outerShdw blurRad="28575" dist="9525" dir="5400000" algn="bl" rotWithShape="0">
              <a:schemeClr val="dk1">
                <a:alpha val="25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 dirty="0">
                <a:solidFill>
                  <a:schemeClr val="accent3"/>
                </a:solidFill>
                <a:latin typeface="Quicksand Light"/>
                <a:ea typeface="Quicksand Light"/>
                <a:cs typeface="Quicksand Light"/>
                <a:sym typeface="Quicksand Light"/>
              </a:rPr>
              <a:t>Medio</a:t>
            </a:r>
            <a:endParaRPr lang="es-MX" dirty="0">
              <a:solidFill>
                <a:schemeClr val="accent3"/>
              </a:solidFill>
              <a:latin typeface="Quicksand Light"/>
              <a:ea typeface="Quicksand Light"/>
              <a:cs typeface="Quicksand Light"/>
              <a:sym typeface="Quicksand Light"/>
            </a:endParaRPr>
          </a:p>
        </p:txBody>
      </p:sp>
      <p:sp>
        <p:nvSpPr>
          <p:cNvPr id="78" name="Google Shape;340;p22">
            <a:extLst>
              <a:ext uri="{FF2B5EF4-FFF2-40B4-BE49-F238E27FC236}">
                <a16:creationId xmlns:a16="http://schemas.microsoft.com/office/drawing/2014/main" id="{D14F01E0-55F6-49F8-9A36-53FF9EAE8238}"/>
              </a:ext>
            </a:extLst>
          </p:cNvPr>
          <p:cNvSpPr/>
          <p:nvPr/>
        </p:nvSpPr>
        <p:spPr>
          <a:xfrm>
            <a:off x="1892606" y="3696340"/>
            <a:ext cx="1103100" cy="442500"/>
          </a:xfrm>
          <a:prstGeom prst="roundRect">
            <a:avLst>
              <a:gd name="adj" fmla="val 50000"/>
            </a:avLst>
          </a:prstGeom>
          <a:solidFill>
            <a:schemeClr val="lt1"/>
          </a:solidFill>
          <a:ln>
            <a:noFill/>
          </a:ln>
          <a:effectLst>
            <a:outerShdw blurRad="28575" dist="9525" dir="5400000" algn="bl" rotWithShape="0">
              <a:schemeClr val="dk1">
                <a:alpha val="25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 dirty="0">
                <a:solidFill>
                  <a:schemeClr val="accent3"/>
                </a:solidFill>
                <a:latin typeface="Quicksand Light"/>
                <a:ea typeface="Quicksand Light"/>
                <a:cs typeface="Quicksand Light"/>
                <a:sym typeface="Quicksand Light"/>
              </a:rPr>
              <a:t>Basico</a:t>
            </a:r>
            <a:endParaRPr lang="es-MX" dirty="0">
              <a:solidFill>
                <a:schemeClr val="accent3"/>
              </a:solidFill>
              <a:latin typeface="Quicksand Light"/>
              <a:ea typeface="Quicksand Light"/>
              <a:cs typeface="Quicksand Light"/>
              <a:sym typeface="Quicksand Light"/>
            </a:endParaRPr>
          </a:p>
        </p:txBody>
      </p:sp>
      <p:sp>
        <p:nvSpPr>
          <p:cNvPr id="79" name="Google Shape;340;p22">
            <a:extLst>
              <a:ext uri="{FF2B5EF4-FFF2-40B4-BE49-F238E27FC236}">
                <a16:creationId xmlns:a16="http://schemas.microsoft.com/office/drawing/2014/main" id="{985FE011-4375-450E-A053-9F1DC5443F4D}"/>
              </a:ext>
            </a:extLst>
          </p:cNvPr>
          <p:cNvSpPr/>
          <p:nvPr/>
        </p:nvSpPr>
        <p:spPr>
          <a:xfrm>
            <a:off x="55120" y="2587620"/>
            <a:ext cx="1103100" cy="442500"/>
          </a:xfrm>
          <a:prstGeom prst="roundRect">
            <a:avLst>
              <a:gd name="adj" fmla="val 50000"/>
            </a:avLst>
          </a:prstGeom>
          <a:solidFill>
            <a:schemeClr val="lt1"/>
          </a:solidFill>
          <a:ln>
            <a:noFill/>
          </a:ln>
          <a:effectLst>
            <a:outerShdw blurRad="28575" dist="9525" dir="5400000" algn="bl" rotWithShape="0">
              <a:schemeClr val="dk1">
                <a:alpha val="25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 dirty="0">
                <a:solidFill>
                  <a:schemeClr val="accent3"/>
                </a:solidFill>
                <a:latin typeface="Quicksand Light"/>
                <a:ea typeface="Quicksand Light"/>
                <a:cs typeface="Quicksand Light"/>
                <a:sym typeface="Quicksand Light"/>
              </a:rPr>
              <a:t>Basico</a:t>
            </a:r>
            <a:endParaRPr lang="es-MX" dirty="0">
              <a:solidFill>
                <a:schemeClr val="accent3"/>
              </a:solidFill>
              <a:latin typeface="Quicksand Light"/>
              <a:ea typeface="Quicksand Light"/>
              <a:cs typeface="Quicksand Light"/>
              <a:sym typeface="Quicksand Light"/>
            </a:endParaRPr>
          </a:p>
        </p:txBody>
      </p:sp>
      <p:sp>
        <p:nvSpPr>
          <p:cNvPr id="80" name="Google Shape;340;p22">
            <a:extLst>
              <a:ext uri="{FF2B5EF4-FFF2-40B4-BE49-F238E27FC236}">
                <a16:creationId xmlns:a16="http://schemas.microsoft.com/office/drawing/2014/main" id="{14D36437-8A5C-4AB5-9AE7-B473067D9621}"/>
              </a:ext>
            </a:extLst>
          </p:cNvPr>
          <p:cNvSpPr/>
          <p:nvPr/>
        </p:nvSpPr>
        <p:spPr>
          <a:xfrm>
            <a:off x="1216281" y="2602064"/>
            <a:ext cx="1103100" cy="442500"/>
          </a:xfrm>
          <a:prstGeom prst="roundRect">
            <a:avLst>
              <a:gd name="adj" fmla="val 50000"/>
            </a:avLst>
          </a:prstGeom>
          <a:solidFill>
            <a:schemeClr val="lt1"/>
          </a:solidFill>
          <a:ln>
            <a:noFill/>
          </a:ln>
          <a:effectLst>
            <a:outerShdw blurRad="28575" dist="9525" dir="5400000" algn="bl" rotWithShape="0">
              <a:schemeClr val="dk1">
                <a:alpha val="25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 dirty="0">
                <a:solidFill>
                  <a:schemeClr val="accent3"/>
                </a:solidFill>
                <a:latin typeface="Quicksand Light"/>
                <a:ea typeface="Quicksand Light"/>
                <a:cs typeface="Quicksand Light"/>
                <a:sym typeface="Quicksand Light"/>
              </a:rPr>
              <a:t>Medio</a:t>
            </a:r>
            <a:endParaRPr lang="es-MX" dirty="0">
              <a:solidFill>
                <a:schemeClr val="accent3"/>
              </a:solidFill>
              <a:latin typeface="Quicksand Light"/>
              <a:ea typeface="Quicksand Light"/>
              <a:cs typeface="Quicksand Light"/>
              <a:sym typeface="Quicksand Light"/>
            </a:endParaRPr>
          </a:p>
        </p:txBody>
      </p:sp>
      <p:cxnSp>
        <p:nvCxnSpPr>
          <p:cNvPr id="89" name="Google Shape;346;p22">
            <a:extLst>
              <a:ext uri="{FF2B5EF4-FFF2-40B4-BE49-F238E27FC236}">
                <a16:creationId xmlns:a16="http://schemas.microsoft.com/office/drawing/2014/main" id="{7A051535-27B5-4F91-9F6D-7E7DABFFE97A}"/>
              </a:ext>
            </a:extLst>
          </p:cNvPr>
          <p:cNvCxnSpPr>
            <a:cxnSpLocks/>
            <a:stCxn id="340" idx="2"/>
            <a:endCxn id="79" idx="0"/>
          </p:cNvCxnSpPr>
          <p:nvPr/>
        </p:nvCxnSpPr>
        <p:spPr>
          <a:xfrm rot="5400000">
            <a:off x="741669" y="2162634"/>
            <a:ext cx="289987" cy="559984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2" name="Google Shape;346;p22">
            <a:extLst>
              <a:ext uri="{FF2B5EF4-FFF2-40B4-BE49-F238E27FC236}">
                <a16:creationId xmlns:a16="http://schemas.microsoft.com/office/drawing/2014/main" id="{C5118907-DC8B-413D-B387-FEA24F6CA7A4}"/>
              </a:ext>
            </a:extLst>
          </p:cNvPr>
          <p:cNvCxnSpPr>
            <a:cxnSpLocks/>
            <a:stCxn id="340" idx="2"/>
            <a:endCxn id="80" idx="0"/>
          </p:cNvCxnSpPr>
          <p:nvPr/>
        </p:nvCxnSpPr>
        <p:spPr>
          <a:xfrm rot="16200000" flipH="1">
            <a:off x="1315027" y="2149259"/>
            <a:ext cx="304431" cy="601177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" name="Google Shape;346;p22">
            <a:extLst>
              <a:ext uri="{FF2B5EF4-FFF2-40B4-BE49-F238E27FC236}">
                <a16:creationId xmlns:a16="http://schemas.microsoft.com/office/drawing/2014/main" id="{0884B5FE-0952-49F5-990B-BA99DE39BF9E}"/>
              </a:ext>
            </a:extLst>
          </p:cNvPr>
          <p:cNvCxnSpPr>
            <a:cxnSpLocks/>
            <a:stCxn id="341" idx="2"/>
            <a:endCxn id="78" idx="0"/>
          </p:cNvCxnSpPr>
          <p:nvPr/>
        </p:nvCxnSpPr>
        <p:spPr>
          <a:xfrm rot="5400000">
            <a:off x="2061826" y="2714731"/>
            <a:ext cx="1363940" cy="599279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8" name="Google Shape;346;p22">
            <a:extLst>
              <a:ext uri="{FF2B5EF4-FFF2-40B4-BE49-F238E27FC236}">
                <a16:creationId xmlns:a16="http://schemas.microsoft.com/office/drawing/2014/main" id="{9538CE43-7140-4184-B136-682448FBF336}"/>
              </a:ext>
            </a:extLst>
          </p:cNvPr>
          <p:cNvCxnSpPr>
            <a:cxnSpLocks/>
            <a:stCxn id="341" idx="2"/>
            <a:endCxn id="77" idx="0"/>
          </p:cNvCxnSpPr>
          <p:nvPr/>
        </p:nvCxnSpPr>
        <p:spPr>
          <a:xfrm rot="16200000" flipH="1">
            <a:off x="2663778" y="2712056"/>
            <a:ext cx="1363940" cy="604627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8F5E1D9-4C99-453F-B277-0EFD3D2C36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8135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Google Shape;73;p1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MX" dirty="0"/>
              <a:t>Acciones a realizar </a:t>
            </a:r>
            <a:endParaRPr dirty="0"/>
          </a:p>
        </p:txBody>
      </p:sp>
      <p:sp>
        <p:nvSpPr>
          <p:cNvPr id="75" name="Google Shape;75;p12"/>
          <p:cNvSpPr txBox="1">
            <a:spLocks noGrp="1"/>
          </p:cNvSpPr>
          <p:nvPr>
            <p:ph type="body" idx="1"/>
          </p:nvPr>
        </p:nvSpPr>
        <p:spPr>
          <a:xfrm>
            <a:off x="855275" y="1549918"/>
            <a:ext cx="4325201" cy="2741232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es-MX" sz="1200" b="1" dirty="0"/>
              <a:t>Buscar listas de palabras por categorías</a:t>
            </a:r>
          </a:p>
          <a:p>
            <a:endParaRPr lang="es-MX" sz="1200" b="1" dirty="0"/>
          </a:p>
          <a:p>
            <a:r>
              <a:rPr lang="es-MX" sz="1200" b="1" dirty="0"/>
              <a:t>Hacer listas de Python con las palabras</a:t>
            </a:r>
          </a:p>
          <a:p>
            <a:endParaRPr lang="es-MX" sz="1200" b="1" dirty="0"/>
          </a:p>
          <a:p>
            <a:r>
              <a:rPr lang="es-MX" sz="1200" b="1" dirty="0"/>
              <a:t>Separar las listas por categoría y longitud para hacer niveles (fácil-difícil según largo de palabra)</a:t>
            </a:r>
          </a:p>
          <a:p>
            <a:endParaRPr lang="es-MX" sz="1200" b="1" dirty="0"/>
          </a:p>
          <a:p>
            <a:r>
              <a:rPr lang="es-MX" sz="1200" b="1" dirty="0"/>
              <a:t>Crear funciones para que corra el juego</a:t>
            </a:r>
          </a:p>
          <a:p>
            <a:pPr marL="114300" indent="0">
              <a:buNone/>
            </a:pPr>
            <a:endParaRPr lang="es-MX" sz="1200" b="1" dirty="0"/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600" dirty="0"/>
          </a:p>
        </p:txBody>
      </p:sp>
      <p:sp>
        <p:nvSpPr>
          <p:cNvPr id="77" name="Google Shape;77;p12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3</a:t>
            </a:fld>
            <a:endParaRPr/>
          </a:p>
        </p:txBody>
      </p:sp>
      <p:grpSp>
        <p:nvGrpSpPr>
          <p:cNvPr id="35" name="Google Shape;134;p14">
            <a:extLst>
              <a:ext uri="{FF2B5EF4-FFF2-40B4-BE49-F238E27FC236}">
                <a16:creationId xmlns:a16="http://schemas.microsoft.com/office/drawing/2014/main" id="{A797D210-A63E-4FD9-9836-8E6EFA155714}"/>
              </a:ext>
            </a:extLst>
          </p:cNvPr>
          <p:cNvGrpSpPr/>
          <p:nvPr/>
        </p:nvGrpSpPr>
        <p:grpSpPr>
          <a:xfrm>
            <a:off x="6547904" y="2985005"/>
            <a:ext cx="1302084" cy="858127"/>
            <a:chOff x="6080071" y="2960311"/>
            <a:chExt cx="1302084" cy="858127"/>
          </a:xfrm>
        </p:grpSpPr>
        <p:sp>
          <p:nvSpPr>
            <p:cNvPr id="36" name="Google Shape;135;p14">
              <a:extLst>
                <a:ext uri="{FF2B5EF4-FFF2-40B4-BE49-F238E27FC236}">
                  <a16:creationId xmlns:a16="http://schemas.microsoft.com/office/drawing/2014/main" id="{175D81C1-289E-4286-ACB4-F9D89559DFA9}"/>
                </a:ext>
              </a:extLst>
            </p:cNvPr>
            <p:cNvSpPr/>
            <p:nvPr/>
          </p:nvSpPr>
          <p:spPr>
            <a:xfrm>
              <a:off x="6080071" y="2960311"/>
              <a:ext cx="1302084" cy="858127"/>
            </a:xfrm>
            <a:custGeom>
              <a:avLst/>
              <a:gdLst/>
              <a:ahLst/>
              <a:cxnLst/>
              <a:rect l="l" t="t" r="r" b="b"/>
              <a:pathLst>
                <a:path w="2141585" h="1411393" extrusionOk="0">
                  <a:moveTo>
                    <a:pt x="0" y="419802"/>
                  </a:moveTo>
                  <a:lnTo>
                    <a:pt x="2132709" y="0"/>
                  </a:lnTo>
                  <a:cubicBezTo>
                    <a:pt x="2132709" y="0"/>
                    <a:pt x="2300658" y="1376737"/>
                    <a:pt x="1175500" y="1410574"/>
                  </a:cubicBezTo>
                  <a:cubicBezTo>
                    <a:pt x="50343" y="1444410"/>
                    <a:pt x="0" y="419802"/>
                    <a:pt x="0" y="419802"/>
                  </a:cubicBezTo>
                  <a:close/>
                </a:path>
              </a:pathLst>
            </a:custGeom>
            <a:solidFill>
              <a:srgbClr val="4C113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136;p14">
              <a:extLst>
                <a:ext uri="{FF2B5EF4-FFF2-40B4-BE49-F238E27FC236}">
                  <a16:creationId xmlns:a16="http://schemas.microsoft.com/office/drawing/2014/main" id="{C7B9C124-2208-43D5-B778-02B5D5DC5D33}"/>
                </a:ext>
              </a:extLst>
            </p:cNvPr>
            <p:cNvSpPr/>
            <p:nvPr/>
          </p:nvSpPr>
          <p:spPr>
            <a:xfrm>
              <a:off x="6327898" y="3465710"/>
              <a:ext cx="879991" cy="352655"/>
            </a:xfrm>
            <a:custGeom>
              <a:avLst/>
              <a:gdLst/>
              <a:ahLst/>
              <a:cxnLst/>
              <a:rect l="l" t="t" r="r" b="b"/>
              <a:pathLst>
                <a:path w="1447354" h="580024" extrusionOk="0">
                  <a:moveTo>
                    <a:pt x="1447355" y="287676"/>
                  </a:moveTo>
                  <a:cubicBezTo>
                    <a:pt x="1320914" y="12671"/>
                    <a:pt x="873783" y="0"/>
                    <a:pt x="658779" y="0"/>
                  </a:cubicBezTo>
                  <a:cubicBezTo>
                    <a:pt x="406856" y="0"/>
                    <a:pt x="54179" y="83974"/>
                    <a:pt x="0" y="366856"/>
                  </a:cubicBezTo>
                  <a:cubicBezTo>
                    <a:pt x="172743" y="498159"/>
                    <a:pt x="418500" y="589805"/>
                    <a:pt x="767890" y="579188"/>
                  </a:cubicBezTo>
                  <a:cubicBezTo>
                    <a:pt x="1087759" y="570010"/>
                    <a:pt x="1302968" y="451583"/>
                    <a:pt x="1447355" y="287676"/>
                  </a:cubicBezTo>
                  <a:close/>
                </a:path>
              </a:pathLst>
            </a:custGeom>
            <a:gradFill>
              <a:gsLst>
                <a:gs pos="0">
                  <a:schemeClr val="accent4"/>
                </a:gs>
                <a:gs pos="100000">
                  <a:srgbClr val="FF6B4B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137;p14">
              <a:extLst>
                <a:ext uri="{FF2B5EF4-FFF2-40B4-BE49-F238E27FC236}">
                  <a16:creationId xmlns:a16="http://schemas.microsoft.com/office/drawing/2014/main" id="{A911B1B0-E3FF-4386-87B9-D98F515EDC5E}"/>
                </a:ext>
              </a:extLst>
            </p:cNvPr>
            <p:cNvSpPr/>
            <p:nvPr/>
          </p:nvSpPr>
          <p:spPr>
            <a:xfrm>
              <a:off x="6487354" y="3095947"/>
              <a:ext cx="200893" cy="194088"/>
            </a:xfrm>
            <a:custGeom>
              <a:avLst/>
              <a:gdLst/>
              <a:ahLst/>
              <a:cxnLst/>
              <a:rect l="l" t="t" r="r" b="b"/>
              <a:pathLst>
                <a:path w="330416" h="319224" extrusionOk="0">
                  <a:moveTo>
                    <a:pt x="0" y="65070"/>
                  </a:moveTo>
                  <a:cubicBezTo>
                    <a:pt x="36850" y="195209"/>
                    <a:pt x="93564" y="314869"/>
                    <a:pt x="178085" y="319115"/>
                  </a:cubicBezTo>
                  <a:cubicBezTo>
                    <a:pt x="275074" y="324047"/>
                    <a:pt x="314731" y="160345"/>
                    <a:pt x="330417" y="0"/>
                  </a:cubicBezTo>
                  <a:close/>
                </a:path>
              </a:pathLst>
            </a:custGeom>
            <a:gradFill>
              <a:gsLst>
                <a:gs pos="0">
                  <a:srgbClr val="F0E0C7"/>
                </a:gs>
                <a:gs pos="50000">
                  <a:srgbClr val="F8F1E4"/>
                </a:gs>
                <a:gs pos="100000">
                  <a:schemeClr val="lt1"/>
                </a:gs>
              </a:gsLst>
              <a:lin ang="5400012" scaled="0"/>
            </a:gradFill>
            <a:ln>
              <a:noFill/>
            </a:ln>
            <a:effectLst>
              <a:outerShdw blurRad="28575" dist="19050" dir="5400000" algn="bl" rotWithShape="0">
                <a:schemeClr val="dk1">
                  <a:alpha val="64999"/>
                </a:scheme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138;p14">
              <a:extLst>
                <a:ext uri="{FF2B5EF4-FFF2-40B4-BE49-F238E27FC236}">
                  <a16:creationId xmlns:a16="http://schemas.microsoft.com/office/drawing/2014/main" id="{4C9195DF-3DC1-4F66-A2D2-5A745D354D3E}"/>
                </a:ext>
              </a:extLst>
            </p:cNvPr>
            <p:cNvSpPr/>
            <p:nvPr/>
          </p:nvSpPr>
          <p:spPr>
            <a:xfrm>
              <a:off x="6233989" y="3151418"/>
              <a:ext cx="172575" cy="159889"/>
            </a:xfrm>
            <a:custGeom>
              <a:avLst/>
              <a:gdLst/>
              <a:ahLst/>
              <a:cxnLst/>
              <a:rect l="l" t="t" r="r" b="b"/>
              <a:pathLst>
                <a:path w="283840" h="262975" extrusionOk="0">
                  <a:moveTo>
                    <a:pt x="283841" y="0"/>
                  </a:moveTo>
                  <a:lnTo>
                    <a:pt x="0" y="55892"/>
                  </a:lnTo>
                  <a:cubicBezTo>
                    <a:pt x="32398" y="163907"/>
                    <a:pt x="80960" y="259320"/>
                    <a:pt x="151852" y="262881"/>
                  </a:cubicBezTo>
                  <a:cubicBezTo>
                    <a:pt x="233498" y="266991"/>
                    <a:pt x="268909" y="135003"/>
                    <a:pt x="283841" y="0"/>
                  </a:cubicBezTo>
                  <a:close/>
                </a:path>
              </a:pathLst>
            </a:custGeom>
            <a:gradFill>
              <a:gsLst>
                <a:gs pos="0">
                  <a:srgbClr val="F0E0C7"/>
                </a:gs>
                <a:gs pos="50000">
                  <a:srgbClr val="F8F1E4"/>
                </a:gs>
                <a:gs pos="100000">
                  <a:schemeClr val="lt1"/>
                </a:gs>
              </a:gsLst>
              <a:lin ang="5400012" scaled="0"/>
            </a:gradFill>
            <a:ln>
              <a:noFill/>
            </a:ln>
            <a:effectLst>
              <a:outerShdw blurRad="28575" dist="19050" dir="5400000" algn="bl" rotWithShape="0">
                <a:schemeClr val="dk1">
                  <a:alpha val="64999"/>
                </a:scheme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139;p14">
              <a:extLst>
                <a:ext uri="{FF2B5EF4-FFF2-40B4-BE49-F238E27FC236}">
                  <a16:creationId xmlns:a16="http://schemas.microsoft.com/office/drawing/2014/main" id="{319D4D4B-575A-4680-A9C5-CE78BC69B109}"/>
                </a:ext>
              </a:extLst>
            </p:cNvPr>
            <p:cNvSpPr/>
            <p:nvPr/>
          </p:nvSpPr>
          <p:spPr>
            <a:xfrm>
              <a:off x="7030567" y="2990920"/>
              <a:ext cx="191315" cy="259998"/>
            </a:xfrm>
            <a:custGeom>
              <a:avLst/>
              <a:gdLst/>
              <a:ahLst/>
              <a:cxnLst/>
              <a:rect l="l" t="t" r="r" b="b"/>
              <a:pathLst>
                <a:path w="314663" h="427629" extrusionOk="0">
                  <a:moveTo>
                    <a:pt x="0" y="61919"/>
                  </a:moveTo>
                  <a:cubicBezTo>
                    <a:pt x="23494" y="204593"/>
                    <a:pt x="76440" y="422268"/>
                    <a:pt x="181031" y="427542"/>
                  </a:cubicBezTo>
                  <a:cubicBezTo>
                    <a:pt x="297060" y="433364"/>
                    <a:pt x="313705" y="146715"/>
                    <a:pt x="314664" y="0"/>
                  </a:cubicBezTo>
                  <a:close/>
                </a:path>
              </a:pathLst>
            </a:custGeom>
            <a:gradFill>
              <a:gsLst>
                <a:gs pos="0">
                  <a:srgbClr val="F0E0C7"/>
                </a:gs>
                <a:gs pos="50000">
                  <a:srgbClr val="F8F1E4"/>
                </a:gs>
                <a:gs pos="100000">
                  <a:schemeClr val="lt1"/>
                </a:gs>
              </a:gsLst>
              <a:lin ang="5400012" scaled="0"/>
            </a:gradFill>
            <a:ln>
              <a:noFill/>
            </a:ln>
            <a:effectLst>
              <a:outerShdw blurRad="28575" dist="19050" dir="5400000" algn="bl" rotWithShape="0">
                <a:schemeClr val="dk1">
                  <a:alpha val="64999"/>
                </a:scheme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140;p14">
              <a:extLst>
                <a:ext uri="{FF2B5EF4-FFF2-40B4-BE49-F238E27FC236}">
                  <a16:creationId xmlns:a16="http://schemas.microsoft.com/office/drawing/2014/main" id="{62E33218-AB31-429C-A84C-2C1CE90FD17E}"/>
                </a:ext>
              </a:extLst>
            </p:cNvPr>
            <p:cNvSpPr/>
            <p:nvPr/>
          </p:nvSpPr>
          <p:spPr>
            <a:xfrm>
              <a:off x="6771121" y="3039228"/>
              <a:ext cx="205307" cy="231196"/>
            </a:xfrm>
            <a:custGeom>
              <a:avLst/>
              <a:gdLst/>
              <a:ahLst/>
              <a:cxnLst/>
              <a:rect l="l" t="t" r="r" b="b"/>
              <a:pathLst>
                <a:path w="337676" h="380256" extrusionOk="0">
                  <a:moveTo>
                    <a:pt x="337677" y="0"/>
                  </a:moveTo>
                  <a:lnTo>
                    <a:pt x="0" y="66439"/>
                  </a:lnTo>
                  <a:cubicBezTo>
                    <a:pt x="33288" y="214524"/>
                    <a:pt x="91371" y="375281"/>
                    <a:pt x="187469" y="380144"/>
                  </a:cubicBezTo>
                  <a:cubicBezTo>
                    <a:pt x="295279" y="385897"/>
                    <a:pt x="328362" y="171304"/>
                    <a:pt x="337677" y="0"/>
                  </a:cubicBezTo>
                  <a:close/>
                </a:path>
              </a:pathLst>
            </a:custGeom>
            <a:gradFill>
              <a:gsLst>
                <a:gs pos="0">
                  <a:srgbClr val="F0E0C7"/>
                </a:gs>
                <a:gs pos="50000">
                  <a:srgbClr val="F8F1E4"/>
                </a:gs>
                <a:gs pos="100000">
                  <a:schemeClr val="lt1"/>
                </a:gs>
              </a:gsLst>
              <a:lin ang="5400012" scaled="0"/>
            </a:gradFill>
            <a:ln>
              <a:noFill/>
            </a:ln>
            <a:effectLst>
              <a:outerShdw blurRad="28575" dist="19050" dir="5400000" algn="bl" rotWithShape="0">
                <a:schemeClr val="dk1">
                  <a:alpha val="64999"/>
                </a:scheme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42" name="Google Shape;141;p14">
            <a:extLst>
              <a:ext uri="{FF2B5EF4-FFF2-40B4-BE49-F238E27FC236}">
                <a16:creationId xmlns:a16="http://schemas.microsoft.com/office/drawing/2014/main" id="{D5F8FEEF-159F-4D06-9CB6-ECE431886827}"/>
              </a:ext>
            </a:extLst>
          </p:cNvPr>
          <p:cNvGrpSpPr/>
          <p:nvPr/>
        </p:nvGrpSpPr>
        <p:grpSpPr>
          <a:xfrm>
            <a:off x="5660115" y="1349756"/>
            <a:ext cx="3077662" cy="1635238"/>
            <a:chOff x="5181459" y="1300137"/>
            <a:chExt cx="3077662" cy="1635238"/>
          </a:xfrm>
        </p:grpSpPr>
        <p:grpSp>
          <p:nvGrpSpPr>
            <p:cNvPr id="43" name="Google Shape;142;p14">
              <a:extLst>
                <a:ext uri="{FF2B5EF4-FFF2-40B4-BE49-F238E27FC236}">
                  <a16:creationId xmlns:a16="http://schemas.microsoft.com/office/drawing/2014/main" id="{F93277EE-E178-4FE0-A648-41B7ACAE121E}"/>
                </a:ext>
              </a:extLst>
            </p:cNvPr>
            <p:cNvGrpSpPr/>
            <p:nvPr/>
          </p:nvGrpSpPr>
          <p:grpSpPr>
            <a:xfrm>
              <a:off x="7173384" y="1918087"/>
              <a:ext cx="1085737" cy="1017288"/>
              <a:chOff x="175906" y="401530"/>
              <a:chExt cx="2115209" cy="1982245"/>
            </a:xfrm>
          </p:grpSpPr>
          <p:sp>
            <p:nvSpPr>
              <p:cNvPr id="56" name="Google Shape;143;p14">
                <a:extLst>
                  <a:ext uri="{FF2B5EF4-FFF2-40B4-BE49-F238E27FC236}">
                    <a16:creationId xmlns:a16="http://schemas.microsoft.com/office/drawing/2014/main" id="{7166A973-D0EE-41A4-9A54-67DEC0F0D4B7}"/>
                  </a:ext>
                </a:extLst>
              </p:cNvPr>
              <p:cNvSpPr/>
              <p:nvPr/>
            </p:nvSpPr>
            <p:spPr>
              <a:xfrm>
                <a:off x="175906" y="401530"/>
                <a:ext cx="2115209" cy="1982245"/>
              </a:xfrm>
              <a:custGeom>
                <a:avLst/>
                <a:gdLst/>
                <a:ahLst/>
                <a:cxnLst/>
                <a:rect l="l" t="t" r="r" b="b"/>
                <a:pathLst>
                  <a:path w="2115209" h="1982245" extrusionOk="0">
                    <a:moveTo>
                      <a:pt x="1084390" y="1982245"/>
                    </a:moveTo>
                    <a:cubicBezTo>
                      <a:pt x="797399" y="1982245"/>
                      <a:pt x="529106" y="1889709"/>
                      <a:pt x="328897" y="1721967"/>
                    </a:cubicBezTo>
                    <a:cubicBezTo>
                      <a:pt x="126839" y="1552306"/>
                      <a:pt x="10261" y="1321480"/>
                      <a:pt x="672" y="1072023"/>
                    </a:cubicBezTo>
                    <a:cubicBezTo>
                      <a:pt x="-9739" y="802772"/>
                      <a:pt x="101359" y="520575"/>
                      <a:pt x="297801" y="316119"/>
                    </a:cubicBezTo>
                    <a:cubicBezTo>
                      <a:pt x="390549" y="219263"/>
                      <a:pt x="501447" y="141599"/>
                      <a:pt x="624176" y="87554"/>
                    </a:cubicBezTo>
                    <a:cubicBezTo>
                      <a:pt x="758672" y="28980"/>
                      <a:pt x="903928" y="-836"/>
                      <a:pt x="1050622" y="18"/>
                    </a:cubicBezTo>
                    <a:cubicBezTo>
                      <a:pt x="1339737" y="18"/>
                      <a:pt x="1578920" y="75910"/>
                      <a:pt x="1761389" y="225501"/>
                    </a:cubicBezTo>
                    <a:cubicBezTo>
                      <a:pt x="1935570" y="368312"/>
                      <a:pt x="2049065" y="569754"/>
                      <a:pt x="2098449" y="824416"/>
                    </a:cubicBezTo>
                    <a:cubicBezTo>
                      <a:pt x="2125608" y="962926"/>
                      <a:pt x="2119696" y="1105894"/>
                      <a:pt x="2081189" y="1241684"/>
                    </a:cubicBezTo>
                    <a:cubicBezTo>
                      <a:pt x="2044085" y="1372426"/>
                      <a:pt x="1979968" y="1493928"/>
                      <a:pt x="1892966" y="1598334"/>
                    </a:cubicBezTo>
                    <a:cubicBezTo>
                      <a:pt x="1795930" y="1715323"/>
                      <a:pt x="1675038" y="1810249"/>
                      <a:pt x="1538371" y="1876764"/>
                    </a:cubicBezTo>
                    <a:cubicBezTo>
                      <a:pt x="1396903" y="1945628"/>
                      <a:pt x="1241722" y="1981683"/>
                      <a:pt x="1084390" y="1982245"/>
                    </a:cubicBezTo>
                    <a:close/>
                  </a:path>
                </a:pathLst>
              </a:custGeom>
              <a:solidFill>
                <a:srgbClr val="09052E">
                  <a:alpha val="1173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" name="Google Shape;144;p14">
                <a:extLst>
                  <a:ext uri="{FF2B5EF4-FFF2-40B4-BE49-F238E27FC236}">
                    <a16:creationId xmlns:a16="http://schemas.microsoft.com/office/drawing/2014/main" id="{28E9F705-C203-4412-91AB-31A8AE75C979}"/>
                  </a:ext>
                </a:extLst>
              </p:cNvPr>
              <p:cNvSpPr/>
              <p:nvPr/>
            </p:nvSpPr>
            <p:spPr>
              <a:xfrm>
                <a:off x="298813" y="475316"/>
                <a:ext cx="1869339" cy="1736332"/>
              </a:xfrm>
              <a:custGeom>
                <a:avLst/>
                <a:gdLst/>
                <a:ahLst/>
                <a:cxnLst/>
                <a:rect l="l" t="t" r="r" b="b"/>
                <a:pathLst>
                  <a:path w="1869339" h="1736332" extrusionOk="0">
                    <a:moveTo>
                      <a:pt x="927716" y="0"/>
                    </a:moveTo>
                    <a:cubicBezTo>
                      <a:pt x="337774" y="0"/>
                      <a:pt x="-16274" y="505694"/>
                      <a:pt x="576" y="943990"/>
                    </a:cubicBezTo>
                    <a:cubicBezTo>
                      <a:pt x="17425" y="1382285"/>
                      <a:pt x="422022" y="1736332"/>
                      <a:pt x="961483" y="1736332"/>
                    </a:cubicBezTo>
                    <a:cubicBezTo>
                      <a:pt x="1500945" y="1736332"/>
                      <a:pt x="1957118" y="1250776"/>
                      <a:pt x="1854924" y="724876"/>
                    </a:cubicBezTo>
                    <a:cubicBezTo>
                      <a:pt x="1769717" y="285279"/>
                      <a:pt x="1464506" y="0"/>
                      <a:pt x="927716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" name="Google Shape;145;p14">
                <a:extLst>
                  <a:ext uri="{FF2B5EF4-FFF2-40B4-BE49-F238E27FC236}">
                    <a16:creationId xmlns:a16="http://schemas.microsoft.com/office/drawing/2014/main" id="{9EEF10C7-079A-44D9-9EDC-A9E4BF2A9D88}"/>
                  </a:ext>
                </a:extLst>
              </p:cNvPr>
              <p:cNvSpPr/>
              <p:nvPr/>
            </p:nvSpPr>
            <p:spPr>
              <a:xfrm>
                <a:off x="298819" y="1299235"/>
                <a:ext cx="1869272" cy="912413"/>
              </a:xfrm>
              <a:custGeom>
                <a:avLst/>
                <a:gdLst/>
                <a:ahLst/>
                <a:cxnLst/>
                <a:rect l="l" t="t" r="r" b="b"/>
                <a:pathLst>
                  <a:path w="1869272" h="912413" extrusionOk="0">
                    <a:moveTo>
                      <a:pt x="963190" y="603915"/>
                    </a:moveTo>
                    <a:cubicBezTo>
                      <a:pt x="507291" y="603915"/>
                      <a:pt x="141942" y="366308"/>
                      <a:pt x="1940" y="34795"/>
                    </a:cubicBezTo>
                    <a:cubicBezTo>
                      <a:pt x="-54" y="63172"/>
                      <a:pt x="-511" y="91639"/>
                      <a:pt x="570" y="120071"/>
                    </a:cubicBezTo>
                    <a:cubicBezTo>
                      <a:pt x="17419" y="558435"/>
                      <a:pt x="422016" y="912414"/>
                      <a:pt x="961477" y="912414"/>
                    </a:cubicBezTo>
                    <a:cubicBezTo>
                      <a:pt x="1466829" y="912414"/>
                      <a:pt x="1899097" y="486242"/>
                      <a:pt x="1867658" y="0"/>
                    </a:cubicBezTo>
                    <a:cubicBezTo>
                      <a:pt x="1728135" y="347404"/>
                      <a:pt x="1367649" y="603915"/>
                      <a:pt x="963190" y="6039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" name="Google Shape;146;p14">
                <a:extLst>
                  <a:ext uri="{FF2B5EF4-FFF2-40B4-BE49-F238E27FC236}">
                    <a16:creationId xmlns:a16="http://schemas.microsoft.com/office/drawing/2014/main" id="{7BCAF718-E7B5-4E71-A805-BDDE31B3BE38}"/>
                  </a:ext>
                </a:extLst>
              </p:cNvPr>
              <p:cNvSpPr/>
              <p:nvPr/>
            </p:nvSpPr>
            <p:spPr>
              <a:xfrm>
                <a:off x="557192" y="816095"/>
                <a:ext cx="758060" cy="758156"/>
              </a:xfrm>
              <a:custGeom>
                <a:avLst/>
                <a:gdLst/>
                <a:ahLst/>
                <a:cxnLst/>
                <a:rect l="l" t="t" r="r" b="b"/>
                <a:pathLst>
                  <a:path w="758060" h="758156" extrusionOk="0">
                    <a:moveTo>
                      <a:pt x="724496" y="223151"/>
                    </a:moveTo>
                    <a:cubicBezTo>
                      <a:pt x="687310" y="294289"/>
                      <a:pt x="599494" y="321817"/>
                      <a:pt x="528355" y="284631"/>
                    </a:cubicBezTo>
                    <a:cubicBezTo>
                      <a:pt x="457217" y="247446"/>
                      <a:pt x="429689" y="159629"/>
                      <a:pt x="466875" y="88491"/>
                    </a:cubicBezTo>
                    <a:cubicBezTo>
                      <a:pt x="479923" y="63532"/>
                      <a:pt x="499937" y="42901"/>
                      <a:pt x="524492" y="29106"/>
                    </a:cubicBezTo>
                    <a:cubicBezTo>
                      <a:pt x="331208" y="-51203"/>
                      <a:pt x="109416" y="40382"/>
                      <a:pt x="29107" y="233665"/>
                    </a:cubicBezTo>
                    <a:cubicBezTo>
                      <a:pt x="-51203" y="426949"/>
                      <a:pt x="40381" y="648740"/>
                      <a:pt x="233665" y="729050"/>
                    </a:cubicBezTo>
                    <a:cubicBezTo>
                      <a:pt x="426956" y="809360"/>
                      <a:pt x="648741" y="717776"/>
                      <a:pt x="729051" y="524492"/>
                    </a:cubicBezTo>
                    <a:cubicBezTo>
                      <a:pt x="769257" y="427730"/>
                      <a:pt x="767606" y="318645"/>
                      <a:pt x="724496" y="223151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5"/>
                  </a:gs>
                  <a:gs pos="100000">
                    <a:schemeClr val="accent6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" name="Google Shape;147;p14">
                <a:extLst>
                  <a:ext uri="{FF2B5EF4-FFF2-40B4-BE49-F238E27FC236}">
                    <a16:creationId xmlns:a16="http://schemas.microsoft.com/office/drawing/2014/main" id="{E10FF5D0-0CDF-4F87-AB62-2897D00F020B}"/>
                  </a:ext>
                </a:extLst>
              </p:cNvPr>
              <p:cNvSpPr/>
              <p:nvPr/>
            </p:nvSpPr>
            <p:spPr>
              <a:xfrm>
                <a:off x="731068" y="988792"/>
                <a:ext cx="411706" cy="411763"/>
              </a:xfrm>
              <a:custGeom>
                <a:avLst/>
                <a:gdLst/>
                <a:ahLst/>
                <a:cxnLst/>
                <a:rect l="l" t="t" r="r" b="b"/>
                <a:pathLst>
                  <a:path w="411706" h="411763" extrusionOk="0">
                    <a:moveTo>
                      <a:pt x="279862" y="13810"/>
                    </a:moveTo>
                    <a:cubicBezTo>
                      <a:pt x="173784" y="-27047"/>
                      <a:pt x="54666" y="25824"/>
                      <a:pt x="13809" y="131901"/>
                    </a:cubicBezTo>
                    <a:cubicBezTo>
                      <a:pt x="-27048" y="237978"/>
                      <a:pt x="25830" y="357097"/>
                      <a:pt x="131907" y="397954"/>
                    </a:cubicBezTo>
                    <a:cubicBezTo>
                      <a:pt x="237984" y="438811"/>
                      <a:pt x="357096" y="385940"/>
                      <a:pt x="397953" y="279863"/>
                    </a:cubicBezTo>
                    <a:cubicBezTo>
                      <a:pt x="417090" y="230170"/>
                      <a:pt x="416227" y="174998"/>
                      <a:pt x="395549" y="125935"/>
                    </a:cubicBezTo>
                    <a:cubicBezTo>
                      <a:pt x="337897" y="115325"/>
                      <a:pt x="292273" y="71105"/>
                      <a:pt x="279862" y="1381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4" name="Google Shape;148;p14">
              <a:extLst>
                <a:ext uri="{FF2B5EF4-FFF2-40B4-BE49-F238E27FC236}">
                  <a16:creationId xmlns:a16="http://schemas.microsoft.com/office/drawing/2014/main" id="{0297C76D-B14D-427B-A5C6-5EBB4ACE7C6B}"/>
                </a:ext>
              </a:extLst>
            </p:cNvPr>
            <p:cNvGrpSpPr/>
            <p:nvPr/>
          </p:nvGrpSpPr>
          <p:grpSpPr>
            <a:xfrm>
              <a:off x="5181459" y="1918087"/>
              <a:ext cx="1085737" cy="1017288"/>
              <a:chOff x="175906" y="401530"/>
              <a:chExt cx="2115209" cy="1982245"/>
            </a:xfrm>
          </p:grpSpPr>
          <p:sp>
            <p:nvSpPr>
              <p:cNvPr id="51" name="Google Shape;149;p14">
                <a:extLst>
                  <a:ext uri="{FF2B5EF4-FFF2-40B4-BE49-F238E27FC236}">
                    <a16:creationId xmlns:a16="http://schemas.microsoft.com/office/drawing/2014/main" id="{A0A9A887-8CC7-416F-AF1F-8DA0E7E7E12E}"/>
                  </a:ext>
                </a:extLst>
              </p:cNvPr>
              <p:cNvSpPr/>
              <p:nvPr/>
            </p:nvSpPr>
            <p:spPr>
              <a:xfrm>
                <a:off x="175906" y="401530"/>
                <a:ext cx="2115209" cy="1982245"/>
              </a:xfrm>
              <a:custGeom>
                <a:avLst/>
                <a:gdLst/>
                <a:ahLst/>
                <a:cxnLst/>
                <a:rect l="l" t="t" r="r" b="b"/>
                <a:pathLst>
                  <a:path w="2115209" h="1982245" extrusionOk="0">
                    <a:moveTo>
                      <a:pt x="1084390" y="1982245"/>
                    </a:moveTo>
                    <a:cubicBezTo>
                      <a:pt x="797399" y="1982245"/>
                      <a:pt x="529106" y="1889709"/>
                      <a:pt x="328897" y="1721967"/>
                    </a:cubicBezTo>
                    <a:cubicBezTo>
                      <a:pt x="126839" y="1552306"/>
                      <a:pt x="10261" y="1321480"/>
                      <a:pt x="672" y="1072023"/>
                    </a:cubicBezTo>
                    <a:cubicBezTo>
                      <a:pt x="-9739" y="802772"/>
                      <a:pt x="101359" y="520575"/>
                      <a:pt x="297801" y="316119"/>
                    </a:cubicBezTo>
                    <a:cubicBezTo>
                      <a:pt x="390549" y="219263"/>
                      <a:pt x="501447" y="141599"/>
                      <a:pt x="624176" y="87554"/>
                    </a:cubicBezTo>
                    <a:cubicBezTo>
                      <a:pt x="758672" y="28980"/>
                      <a:pt x="903928" y="-836"/>
                      <a:pt x="1050622" y="18"/>
                    </a:cubicBezTo>
                    <a:cubicBezTo>
                      <a:pt x="1339737" y="18"/>
                      <a:pt x="1578920" y="75910"/>
                      <a:pt x="1761389" y="225501"/>
                    </a:cubicBezTo>
                    <a:cubicBezTo>
                      <a:pt x="1935570" y="368312"/>
                      <a:pt x="2049065" y="569754"/>
                      <a:pt x="2098449" y="824416"/>
                    </a:cubicBezTo>
                    <a:cubicBezTo>
                      <a:pt x="2125608" y="962926"/>
                      <a:pt x="2119696" y="1105894"/>
                      <a:pt x="2081189" y="1241684"/>
                    </a:cubicBezTo>
                    <a:cubicBezTo>
                      <a:pt x="2044085" y="1372426"/>
                      <a:pt x="1979968" y="1493928"/>
                      <a:pt x="1892966" y="1598334"/>
                    </a:cubicBezTo>
                    <a:cubicBezTo>
                      <a:pt x="1795930" y="1715323"/>
                      <a:pt x="1675038" y="1810249"/>
                      <a:pt x="1538371" y="1876764"/>
                    </a:cubicBezTo>
                    <a:cubicBezTo>
                      <a:pt x="1396903" y="1945628"/>
                      <a:pt x="1241722" y="1981683"/>
                      <a:pt x="1084390" y="1982245"/>
                    </a:cubicBezTo>
                    <a:close/>
                  </a:path>
                </a:pathLst>
              </a:custGeom>
              <a:solidFill>
                <a:srgbClr val="09052E">
                  <a:alpha val="1173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" name="Google Shape;150;p14">
                <a:extLst>
                  <a:ext uri="{FF2B5EF4-FFF2-40B4-BE49-F238E27FC236}">
                    <a16:creationId xmlns:a16="http://schemas.microsoft.com/office/drawing/2014/main" id="{378DEF7F-2EE9-4A38-A782-89CD3BC31173}"/>
                  </a:ext>
                </a:extLst>
              </p:cNvPr>
              <p:cNvSpPr/>
              <p:nvPr/>
            </p:nvSpPr>
            <p:spPr>
              <a:xfrm>
                <a:off x="298813" y="475316"/>
                <a:ext cx="1869339" cy="1736332"/>
              </a:xfrm>
              <a:custGeom>
                <a:avLst/>
                <a:gdLst/>
                <a:ahLst/>
                <a:cxnLst/>
                <a:rect l="l" t="t" r="r" b="b"/>
                <a:pathLst>
                  <a:path w="1869339" h="1736332" extrusionOk="0">
                    <a:moveTo>
                      <a:pt x="927716" y="0"/>
                    </a:moveTo>
                    <a:cubicBezTo>
                      <a:pt x="337774" y="0"/>
                      <a:pt x="-16274" y="505694"/>
                      <a:pt x="576" y="943990"/>
                    </a:cubicBezTo>
                    <a:cubicBezTo>
                      <a:pt x="17425" y="1382285"/>
                      <a:pt x="422022" y="1736332"/>
                      <a:pt x="961483" y="1736332"/>
                    </a:cubicBezTo>
                    <a:cubicBezTo>
                      <a:pt x="1500945" y="1736332"/>
                      <a:pt x="1957118" y="1250776"/>
                      <a:pt x="1854924" y="724876"/>
                    </a:cubicBezTo>
                    <a:cubicBezTo>
                      <a:pt x="1769717" y="285279"/>
                      <a:pt x="1464506" y="0"/>
                      <a:pt x="927716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" name="Google Shape;151;p14">
                <a:extLst>
                  <a:ext uri="{FF2B5EF4-FFF2-40B4-BE49-F238E27FC236}">
                    <a16:creationId xmlns:a16="http://schemas.microsoft.com/office/drawing/2014/main" id="{05869027-1FFA-43AC-A8FE-6BE0824DAD79}"/>
                  </a:ext>
                </a:extLst>
              </p:cNvPr>
              <p:cNvSpPr/>
              <p:nvPr/>
            </p:nvSpPr>
            <p:spPr>
              <a:xfrm>
                <a:off x="298819" y="1299235"/>
                <a:ext cx="1869272" cy="912413"/>
              </a:xfrm>
              <a:custGeom>
                <a:avLst/>
                <a:gdLst/>
                <a:ahLst/>
                <a:cxnLst/>
                <a:rect l="l" t="t" r="r" b="b"/>
                <a:pathLst>
                  <a:path w="1869272" h="912413" extrusionOk="0">
                    <a:moveTo>
                      <a:pt x="963190" y="603915"/>
                    </a:moveTo>
                    <a:cubicBezTo>
                      <a:pt x="507291" y="603915"/>
                      <a:pt x="141942" y="366308"/>
                      <a:pt x="1940" y="34795"/>
                    </a:cubicBezTo>
                    <a:cubicBezTo>
                      <a:pt x="-54" y="63172"/>
                      <a:pt x="-511" y="91639"/>
                      <a:pt x="570" y="120071"/>
                    </a:cubicBezTo>
                    <a:cubicBezTo>
                      <a:pt x="17419" y="558435"/>
                      <a:pt x="422016" y="912414"/>
                      <a:pt x="961477" y="912414"/>
                    </a:cubicBezTo>
                    <a:cubicBezTo>
                      <a:pt x="1466829" y="912414"/>
                      <a:pt x="1899097" y="486242"/>
                      <a:pt x="1867658" y="0"/>
                    </a:cubicBezTo>
                    <a:cubicBezTo>
                      <a:pt x="1728135" y="347404"/>
                      <a:pt x="1367649" y="603915"/>
                      <a:pt x="963190" y="6039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" name="Google Shape;152;p14">
                <a:extLst>
                  <a:ext uri="{FF2B5EF4-FFF2-40B4-BE49-F238E27FC236}">
                    <a16:creationId xmlns:a16="http://schemas.microsoft.com/office/drawing/2014/main" id="{F4E44420-F405-4CA0-83E2-212A22BAF389}"/>
                  </a:ext>
                </a:extLst>
              </p:cNvPr>
              <p:cNvSpPr/>
              <p:nvPr/>
            </p:nvSpPr>
            <p:spPr>
              <a:xfrm>
                <a:off x="557192" y="816095"/>
                <a:ext cx="758060" cy="758156"/>
              </a:xfrm>
              <a:custGeom>
                <a:avLst/>
                <a:gdLst/>
                <a:ahLst/>
                <a:cxnLst/>
                <a:rect l="l" t="t" r="r" b="b"/>
                <a:pathLst>
                  <a:path w="758060" h="758156" extrusionOk="0">
                    <a:moveTo>
                      <a:pt x="724496" y="223151"/>
                    </a:moveTo>
                    <a:cubicBezTo>
                      <a:pt x="687310" y="294289"/>
                      <a:pt x="599494" y="321817"/>
                      <a:pt x="528355" y="284631"/>
                    </a:cubicBezTo>
                    <a:cubicBezTo>
                      <a:pt x="457217" y="247446"/>
                      <a:pt x="429689" y="159629"/>
                      <a:pt x="466875" y="88491"/>
                    </a:cubicBezTo>
                    <a:cubicBezTo>
                      <a:pt x="479923" y="63532"/>
                      <a:pt x="499937" y="42901"/>
                      <a:pt x="524492" y="29106"/>
                    </a:cubicBezTo>
                    <a:cubicBezTo>
                      <a:pt x="331208" y="-51203"/>
                      <a:pt x="109416" y="40382"/>
                      <a:pt x="29107" y="233665"/>
                    </a:cubicBezTo>
                    <a:cubicBezTo>
                      <a:pt x="-51203" y="426949"/>
                      <a:pt x="40381" y="648740"/>
                      <a:pt x="233665" y="729050"/>
                    </a:cubicBezTo>
                    <a:cubicBezTo>
                      <a:pt x="426956" y="809360"/>
                      <a:pt x="648741" y="717776"/>
                      <a:pt x="729051" y="524492"/>
                    </a:cubicBezTo>
                    <a:cubicBezTo>
                      <a:pt x="769257" y="427730"/>
                      <a:pt x="767606" y="318645"/>
                      <a:pt x="724496" y="223151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5"/>
                  </a:gs>
                  <a:gs pos="100000">
                    <a:schemeClr val="accent6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" name="Google Shape;153;p14">
                <a:extLst>
                  <a:ext uri="{FF2B5EF4-FFF2-40B4-BE49-F238E27FC236}">
                    <a16:creationId xmlns:a16="http://schemas.microsoft.com/office/drawing/2014/main" id="{768ABA1D-F621-4EFC-A29A-02C971B78995}"/>
                  </a:ext>
                </a:extLst>
              </p:cNvPr>
              <p:cNvSpPr/>
              <p:nvPr/>
            </p:nvSpPr>
            <p:spPr>
              <a:xfrm>
                <a:off x="731068" y="988792"/>
                <a:ext cx="411706" cy="411763"/>
              </a:xfrm>
              <a:custGeom>
                <a:avLst/>
                <a:gdLst/>
                <a:ahLst/>
                <a:cxnLst/>
                <a:rect l="l" t="t" r="r" b="b"/>
                <a:pathLst>
                  <a:path w="411706" h="411763" extrusionOk="0">
                    <a:moveTo>
                      <a:pt x="279862" y="13810"/>
                    </a:moveTo>
                    <a:cubicBezTo>
                      <a:pt x="173784" y="-27047"/>
                      <a:pt x="54666" y="25824"/>
                      <a:pt x="13809" y="131901"/>
                    </a:cubicBezTo>
                    <a:cubicBezTo>
                      <a:pt x="-27048" y="237978"/>
                      <a:pt x="25830" y="357097"/>
                      <a:pt x="131907" y="397954"/>
                    </a:cubicBezTo>
                    <a:cubicBezTo>
                      <a:pt x="237984" y="438811"/>
                      <a:pt x="357096" y="385940"/>
                      <a:pt x="397953" y="279863"/>
                    </a:cubicBezTo>
                    <a:cubicBezTo>
                      <a:pt x="417090" y="230170"/>
                      <a:pt x="416227" y="174998"/>
                      <a:pt x="395549" y="125935"/>
                    </a:cubicBezTo>
                    <a:cubicBezTo>
                      <a:pt x="337897" y="115325"/>
                      <a:pt x="292273" y="71105"/>
                      <a:pt x="279862" y="1381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5" name="Google Shape;154;p14">
              <a:extLst>
                <a:ext uri="{FF2B5EF4-FFF2-40B4-BE49-F238E27FC236}">
                  <a16:creationId xmlns:a16="http://schemas.microsoft.com/office/drawing/2014/main" id="{24B32305-CD6B-4BC4-A382-8F2674B6874F}"/>
                </a:ext>
              </a:extLst>
            </p:cNvPr>
            <p:cNvGrpSpPr/>
            <p:nvPr/>
          </p:nvGrpSpPr>
          <p:grpSpPr>
            <a:xfrm>
              <a:off x="6188258" y="1300137"/>
              <a:ext cx="1085737" cy="1017288"/>
              <a:chOff x="175906" y="401530"/>
              <a:chExt cx="2115209" cy="1982245"/>
            </a:xfrm>
          </p:grpSpPr>
          <p:sp>
            <p:nvSpPr>
              <p:cNvPr id="46" name="Google Shape;155;p14">
                <a:extLst>
                  <a:ext uri="{FF2B5EF4-FFF2-40B4-BE49-F238E27FC236}">
                    <a16:creationId xmlns:a16="http://schemas.microsoft.com/office/drawing/2014/main" id="{C09E30C5-E160-44ED-ACA4-07A6C13CFA59}"/>
                  </a:ext>
                </a:extLst>
              </p:cNvPr>
              <p:cNvSpPr/>
              <p:nvPr/>
            </p:nvSpPr>
            <p:spPr>
              <a:xfrm>
                <a:off x="175906" y="401530"/>
                <a:ext cx="2115209" cy="1982245"/>
              </a:xfrm>
              <a:custGeom>
                <a:avLst/>
                <a:gdLst/>
                <a:ahLst/>
                <a:cxnLst/>
                <a:rect l="l" t="t" r="r" b="b"/>
                <a:pathLst>
                  <a:path w="2115209" h="1982245" extrusionOk="0">
                    <a:moveTo>
                      <a:pt x="1084390" y="1982245"/>
                    </a:moveTo>
                    <a:cubicBezTo>
                      <a:pt x="797399" y="1982245"/>
                      <a:pt x="529106" y="1889709"/>
                      <a:pt x="328897" y="1721967"/>
                    </a:cubicBezTo>
                    <a:cubicBezTo>
                      <a:pt x="126839" y="1552306"/>
                      <a:pt x="10261" y="1321480"/>
                      <a:pt x="672" y="1072023"/>
                    </a:cubicBezTo>
                    <a:cubicBezTo>
                      <a:pt x="-9739" y="802772"/>
                      <a:pt x="101359" y="520575"/>
                      <a:pt x="297801" y="316119"/>
                    </a:cubicBezTo>
                    <a:cubicBezTo>
                      <a:pt x="390549" y="219263"/>
                      <a:pt x="501447" y="141599"/>
                      <a:pt x="624176" y="87554"/>
                    </a:cubicBezTo>
                    <a:cubicBezTo>
                      <a:pt x="758672" y="28980"/>
                      <a:pt x="903928" y="-836"/>
                      <a:pt x="1050622" y="18"/>
                    </a:cubicBezTo>
                    <a:cubicBezTo>
                      <a:pt x="1339737" y="18"/>
                      <a:pt x="1578920" y="75910"/>
                      <a:pt x="1761389" y="225501"/>
                    </a:cubicBezTo>
                    <a:cubicBezTo>
                      <a:pt x="1935570" y="368312"/>
                      <a:pt x="2049065" y="569754"/>
                      <a:pt x="2098449" y="824416"/>
                    </a:cubicBezTo>
                    <a:cubicBezTo>
                      <a:pt x="2125608" y="962926"/>
                      <a:pt x="2119696" y="1105894"/>
                      <a:pt x="2081189" y="1241684"/>
                    </a:cubicBezTo>
                    <a:cubicBezTo>
                      <a:pt x="2044085" y="1372426"/>
                      <a:pt x="1979968" y="1493928"/>
                      <a:pt x="1892966" y="1598334"/>
                    </a:cubicBezTo>
                    <a:cubicBezTo>
                      <a:pt x="1795930" y="1715323"/>
                      <a:pt x="1675038" y="1810249"/>
                      <a:pt x="1538371" y="1876764"/>
                    </a:cubicBezTo>
                    <a:cubicBezTo>
                      <a:pt x="1396903" y="1945628"/>
                      <a:pt x="1241722" y="1981683"/>
                      <a:pt x="1084390" y="1982245"/>
                    </a:cubicBezTo>
                    <a:close/>
                  </a:path>
                </a:pathLst>
              </a:custGeom>
              <a:solidFill>
                <a:srgbClr val="09052E">
                  <a:alpha val="1173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156;p14">
                <a:extLst>
                  <a:ext uri="{FF2B5EF4-FFF2-40B4-BE49-F238E27FC236}">
                    <a16:creationId xmlns:a16="http://schemas.microsoft.com/office/drawing/2014/main" id="{271B7E8C-2CD6-4D1C-A9C9-3EA2802731E0}"/>
                  </a:ext>
                </a:extLst>
              </p:cNvPr>
              <p:cNvSpPr/>
              <p:nvPr/>
            </p:nvSpPr>
            <p:spPr>
              <a:xfrm>
                <a:off x="298813" y="475316"/>
                <a:ext cx="1869339" cy="1736332"/>
              </a:xfrm>
              <a:custGeom>
                <a:avLst/>
                <a:gdLst/>
                <a:ahLst/>
                <a:cxnLst/>
                <a:rect l="l" t="t" r="r" b="b"/>
                <a:pathLst>
                  <a:path w="1869339" h="1736332" extrusionOk="0">
                    <a:moveTo>
                      <a:pt x="927716" y="0"/>
                    </a:moveTo>
                    <a:cubicBezTo>
                      <a:pt x="337774" y="0"/>
                      <a:pt x="-16274" y="505694"/>
                      <a:pt x="576" y="943990"/>
                    </a:cubicBezTo>
                    <a:cubicBezTo>
                      <a:pt x="17425" y="1382285"/>
                      <a:pt x="422022" y="1736332"/>
                      <a:pt x="961483" y="1736332"/>
                    </a:cubicBezTo>
                    <a:cubicBezTo>
                      <a:pt x="1500945" y="1736332"/>
                      <a:pt x="1957118" y="1250776"/>
                      <a:pt x="1854924" y="724876"/>
                    </a:cubicBezTo>
                    <a:cubicBezTo>
                      <a:pt x="1769717" y="285279"/>
                      <a:pt x="1464506" y="0"/>
                      <a:pt x="927716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" name="Google Shape;157;p14">
                <a:extLst>
                  <a:ext uri="{FF2B5EF4-FFF2-40B4-BE49-F238E27FC236}">
                    <a16:creationId xmlns:a16="http://schemas.microsoft.com/office/drawing/2014/main" id="{424DFADC-031A-4CA4-9577-E5DD1DCD9009}"/>
                  </a:ext>
                </a:extLst>
              </p:cNvPr>
              <p:cNvSpPr/>
              <p:nvPr/>
            </p:nvSpPr>
            <p:spPr>
              <a:xfrm>
                <a:off x="298819" y="1299235"/>
                <a:ext cx="1869272" cy="912413"/>
              </a:xfrm>
              <a:custGeom>
                <a:avLst/>
                <a:gdLst/>
                <a:ahLst/>
                <a:cxnLst/>
                <a:rect l="l" t="t" r="r" b="b"/>
                <a:pathLst>
                  <a:path w="1869272" h="912413" extrusionOk="0">
                    <a:moveTo>
                      <a:pt x="963190" y="603915"/>
                    </a:moveTo>
                    <a:cubicBezTo>
                      <a:pt x="507291" y="603915"/>
                      <a:pt x="141942" y="366308"/>
                      <a:pt x="1940" y="34795"/>
                    </a:cubicBezTo>
                    <a:cubicBezTo>
                      <a:pt x="-54" y="63172"/>
                      <a:pt x="-511" y="91639"/>
                      <a:pt x="570" y="120071"/>
                    </a:cubicBezTo>
                    <a:cubicBezTo>
                      <a:pt x="17419" y="558435"/>
                      <a:pt x="422016" y="912414"/>
                      <a:pt x="961477" y="912414"/>
                    </a:cubicBezTo>
                    <a:cubicBezTo>
                      <a:pt x="1466829" y="912414"/>
                      <a:pt x="1899097" y="486242"/>
                      <a:pt x="1867658" y="0"/>
                    </a:cubicBezTo>
                    <a:cubicBezTo>
                      <a:pt x="1728135" y="347404"/>
                      <a:pt x="1367649" y="603915"/>
                      <a:pt x="963190" y="60391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" name="Google Shape;158;p14">
                <a:extLst>
                  <a:ext uri="{FF2B5EF4-FFF2-40B4-BE49-F238E27FC236}">
                    <a16:creationId xmlns:a16="http://schemas.microsoft.com/office/drawing/2014/main" id="{45FD2542-3F69-4C7C-911A-F902946ECD4D}"/>
                  </a:ext>
                </a:extLst>
              </p:cNvPr>
              <p:cNvSpPr/>
              <p:nvPr/>
            </p:nvSpPr>
            <p:spPr>
              <a:xfrm>
                <a:off x="557192" y="816095"/>
                <a:ext cx="758060" cy="758156"/>
              </a:xfrm>
              <a:custGeom>
                <a:avLst/>
                <a:gdLst/>
                <a:ahLst/>
                <a:cxnLst/>
                <a:rect l="l" t="t" r="r" b="b"/>
                <a:pathLst>
                  <a:path w="758060" h="758156" extrusionOk="0">
                    <a:moveTo>
                      <a:pt x="724496" y="223151"/>
                    </a:moveTo>
                    <a:cubicBezTo>
                      <a:pt x="687310" y="294289"/>
                      <a:pt x="599494" y="321817"/>
                      <a:pt x="528355" y="284631"/>
                    </a:cubicBezTo>
                    <a:cubicBezTo>
                      <a:pt x="457217" y="247446"/>
                      <a:pt x="429689" y="159629"/>
                      <a:pt x="466875" y="88491"/>
                    </a:cubicBezTo>
                    <a:cubicBezTo>
                      <a:pt x="479923" y="63532"/>
                      <a:pt x="499937" y="42901"/>
                      <a:pt x="524492" y="29106"/>
                    </a:cubicBezTo>
                    <a:cubicBezTo>
                      <a:pt x="331208" y="-51203"/>
                      <a:pt x="109416" y="40382"/>
                      <a:pt x="29107" y="233665"/>
                    </a:cubicBezTo>
                    <a:cubicBezTo>
                      <a:pt x="-51203" y="426949"/>
                      <a:pt x="40381" y="648740"/>
                      <a:pt x="233665" y="729050"/>
                    </a:cubicBezTo>
                    <a:cubicBezTo>
                      <a:pt x="426956" y="809360"/>
                      <a:pt x="648741" y="717776"/>
                      <a:pt x="729051" y="524492"/>
                    </a:cubicBezTo>
                    <a:cubicBezTo>
                      <a:pt x="769257" y="427730"/>
                      <a:pt x="767606" y="318645"/>
                      <a:pt x="724496" y="223151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5"/>
                  </a:gs>
                  <a:gs pos="100000">
                    <a:schemeClr val="accent6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" name="Google Shape;159;p14">
                <a:extLst>
                  <a:ext uri="{FF2B5EF4-FFF2-40B4-BE49-F238E27FC236}">
                    <a16:creationId xmlns:a16="http://schemas.microsoft.com/office/drawing/2014/main" id="{4966B2E4-6E24-4E3F-9C97-DF3D5DF0C8EA}"/>
                  </a:ext>
                </a:extLst>
              </p:cNvPr>
              <p:cNvSpPr/>
              <p:nvPr/>
            </p:nvSpPr>
            <p:spPr>
              <a:xfrm>
                <a:off x="731068" y="988792"/>
                <a:ext cx="411706" cy="411763"/>
              </a:xfrm>
              <a:custGeom>
                <a:avLst/>
                <a:gdLst/>
                <a:ahLst/>
                <a:cxnLst/>
                <a:rect l="l" t="t" r="r" b="b"/>
                <a:pathLst>
                  <a:path w="411706" h="411763" extrusionOk="0">
                    <a:moveTo>
                      <a:pt x="279862" y="13810"/>
                    </a:moveTo>
                    <a:cubicBezTo>
                      <a:pt x="173784" y="-27047"/>
                      <a:pt x="54666" y="25824"/>
                      <a:pt x="13809" y="131901"/>
                    </a:cubicBezTo>
                    <a:cubicBezTo>
                      <a:pt x="-27048" y="237978"/>
                      <a:pt x="25830" y="357097"/>
                      <a:pt x="131907" y="397954"/>
                    </a:cubicBezTo>
                    <a:cubicBezTo>
                      <a:pt x="237984" y="438811"/>
                      <a:pt x="357096" y="385940"/>
                      <a:pt x="397953" y="279863"/>
                    </a:cubicBezTo>
                    <a:cubicBezTo>
                      <a:pt x="417090" y="230170"/>
                      <a:pt x="416227" y="174998"/>
                      <a:pt x="395549" y="125935"/>
                    </a:cubicBezTo>
                    <a:cubicBezTo>
                      <a:pt x="337897" y="115325"/>
                      <a:pt x="292273" y="71105"/>
                      <a:pt x="279862" y="1381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61" name="Google Shape;160;p14">
            <a:extLst>
              <a:ext uri="{FF2B5EF4-FFF2-40B4-BE49-F238E27FC236}">
                <a16:creationId xmlns:a16="http://schemas.microsoft.com/office/drawing/2014/main" id="{37BD5300-C997-4AB8-A5FF-6CE13CD35AC1}"/>
              </a:ext>
            </a:extLst>
          </p:cNvPr>
          <p:cNvGrpSpPr/>
          <p:nvPr/>
        </p:nvGrpSpPr>
        <p:grpSpPr>
          <a:xfrm>
            <a:off x="5314184" y="1349750"/>
            <a:ext cx="3769524" cy="714197"/>
            <a:chOff x="4846351" y="1300131"/>
            <a:chExt cx="3769524" cy="714197"/>
          </a:xfrm>
        </p:grpSpPr>
        <p:grpSp>
          <p:nvGrpSpPr>
            <p:cNvPr id="62" name="Google Shape;161;p14">
              <a:extLst>
                <a:ext uri="{FF2B5EF4-FFF2-40B4-BE49-F238E27FC236}">
                  <a16:creationId xmlns:a16="http://schemas.microsoft.com/office/drawing/2014/main" id="{3C039603-656B-417C-ACBB-64262DB5B2D2}"/>
                </a:ext>
              </a:extLst>
            </p:cNvPr>
            <p:cNvGrpSpPr/>
            <p:nvPr/>
          </p:nvGrpSpPr>
          <p:grpSpPr>
            <a:xfrm rot="10800000">
              <a:off x="4846351" y="1300131"/>
              <a:ext cx="453116" cy="714197"/>
              <a:chOff x="1620532" y="2740711"/>
              <a:chExt cx="745257" cy="1174666"/>
            </a:xfrm>
          </p:grpSpPr>
          <p:sp>
            <p:nvSpPr>
              <p:cNvPr id="69" name="Google Shape;162;p14">
                <a:extLst>
                  <a:ext uri="{FF2B5EF4-FFF2-40B4-BE49-F238E27FC236}">
                    <a16:creationId xmlns:a16="http://schemas.microsoft.com/office/drawing/2014/main" id="{3CDA606E-30C8-4FF5-903B-DED92A177CEA}"/>
                  </a:ext>
                </a:extLst>
              </p:cNvPr>
              <p:cNvSpPr/>
              <p:nvPr/>
            </p:nvSpPr>
            <p:spPr>
              <a:xfrm>
                <a:off x="1620532" y="2740711"/>
                <a:ext cx="745257" cy="1174666"/>
              </a:xfrm>
              <a:custGeom>
                <a:avLst/>
                <a:gdLst/>
                <a:ahLst/>
                <a:cxnLst/>
                <a:rect l="l" t="t" r="r" b="b"/>
                <a:pathLst>
                  <a:path w="745257" h="1174666" extrusionOk="0">
                    <a:moveTo>
                      <a:pt x="105526" y="385886"/>
                    </a:moveTo>
                    <a:cubicBezTo>
                      <a:pt x="105526" y="385886"/>
                      <a:pt x="389709" y="456640"/>
                      <a:pt x="547452" y="114511"/>
                    </a:cubicBezTo>
                    <a:cubicBezTo>
                      <a:pt x="625124" y="-53848"/>
                      <a:pt x="678481" y="-1313"/>
                      <a:pt x="704989" y="51359"/>
                    </a:cubicBezTo>
                    <a:cubicBezTo>
                      <a:pt x="763894" y="169032"/>
                      <a:pt x="825744" y="770550"/>
                      <a:pt x="360393" y="1174667"/>
                    </a:cubicBezTo>
                    <a:cubicBezTo>
                      <a:pt x="360257" y="1174598"/>
                      <a:pt x="-235850" y="1027952"/>
                      <a:pt x="105526" y="385886"/>
                    </a:cubicBezTo>
                    <a:close/>
                  </a:path>
                </a:pathLst>
              </a:custGeom>
              <a:solidFill>
                <a:srgbClr val="F8F1E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" name="Google Shape;163;p14">
                <a:extLst>
                  <a:ext uri="{FF2B5EF4-FFF2-40B4-BE49-F238E27FC236}">
                    <a16:creationId xmlns:a16="http://schemas.microsoft.com/office/drawing/2014/main" id="{B7025C18-0042-4401-9BE4-5378F95B5C2D}"/>
                  </a:ext>
                </a:extLst>
              </p:cNvPr>
              <p:cNvSpPr/>
              <p:nvPr/>
            </p:nvSpPr>
            <p:spPr>
              <a:xfrm>
                <a:off x="1763362" y="3112760"/>
                <a:ext cx="446402" cy="667683"/>
              </a:xfrm>
              <a:custGeom>
                <a:avLst/>
                <a:gdLst/>
                <a:ahLst/>
                <a:cxnLst/>
                <a:rect l="l" t="t" r="r" b="b"/>
                <a:pathLst>
                  <a:path w="446402" h="667683" extrusionOk="0">
                    <a:moveTo>
                      <a:pt x="446403" y="526996"/>
                    </a:moveTo>
                    <a:cubicBezTo>
                      <a:pt x="278523" y="500214"/>
                      <a:pt x="48382" y="393843"/>
                      <a:pt x="145028" y="0"/>
                    </a:cubicBezTo>
                    <a:cubicBezTo>
                      <a:pt x="115342" y="10103"/>
                      <a:pt x="84506" y="16432"/>
                      <a:pt x="53245" y="18836"/>
                    </a:cubicBezTo>
                    <a:cubicBezTo>
                      <a:pt x="-14085" y="183222"/>
                      <a:pt x="-95456" y="533023"/>
                      <a:pt x="348456" y="667683"/>
                    </a:cubicBezTo>
                    <a:cubicBezTo>
                      <a:pt x="384785" y="623463"/>
                      <a:pt x="417539" y="576414"/>
                      <a:pt x="446403" y="526996"/>
                    </a:cubicBezTo>
                    <a:close/>
                  </a:path>
                </a:pathLst>
              </a:custGeom>
              <a:solidFill>
                <a:srgbClr val="F0E0C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" name="Google Shape;164;p14">
                <a:extLst>
                  <a:ext uri="{FF2B5EF4-FFF2-40B4-BE49-F238E27FC236}">
                    <a16:creationId xmlns:a16="http://schemas.microsoft.com/office/drawing/2014/main" id="{06086D65-857F-4767-B629-6E9C82AF155B}"/>
                  </a:ext>
                </a:extLst>
              </p:cNvPr>
              <p:cNvSpPr/>
              <p:nvPr/>
            </p:nvSpPr>
            <p:spPr>
              <a:xfrm>
                <a:off x="1980517" y="3061527"/>
                <a:ext cx="341579" cy="420075"/>
              </a:xfrm>
              <a:custGeom>
                <a:avLst/>
                <a:gdLst/>
                <a:ahLst/>
                <a:cxnLst/>
                <a:rect l="l" t="t" r="r" b="b"/>
                <a:pathLst>
                  <a:path w="341579" h="420075" extrusionOk="0">
                    <a:moveTo>
                      <a:pt x="26848" y="0"/>
                    </a:moveTo>
                    <a:cubicBezTo>
                      <a:pt x="18170" y="6301"/>
                      <a:pt x="9430" y="12103"/>
                      <a:pt x="614" y="17398"/>
                    </a:cubicBezTo>
                    <a:cubicBezTo>
                      <a:pt x="-5002" y="131783"/>
                      <a:pt x="22670" y="353020"/>
                      <a:pt x="305346" y="420076"/>
                    </a:cubicBezTo>
                    <a:cubicBezTo>
                      <a:pt x="319593" y="383294"/>
                      <a:pt x="331579" y="346719"/>
                      <a:pt x="341579" y="310485"/>
                    </a:cubicBezTo>
                    <a:cubicBezTo>
                      <a:pt x="258016" y="305280"/>
                      <a:pt x="119795" y="254114"/>
                      <a:pt x="26848" y="0"/>
                    </a:cubicBezTo>
                    <a:close/>
                  </a:path>
                </a:pathLst>
              </a:custGeom>
              <a:solidFill>
                <a:srgbClr val="F0E0C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" name="Google Shape;165;p14">
                <a:extLst>
                  <a:ext uri="{FF2B5EF4-FFF2-40B4-BE49-F238E27FC236}">
                    <a16:creationId xmlns:a16="http://schemas.microsoft.com/office/drawing/2014/main" id="{8E4AE0BF-872A-4DD5-8867-9BAA2C01A4BF}"/>
                  </a:ext>
                </a:extLst>
              </p:cNvPr>
              <p:cNvSpPr/>
              <p:nvPr/>
            </p:nvSpPr>
            <p:spPr>
              <a:xfrm>
                <a:off x="2085517" y="2976457"/>
                <a:ext cx="278498" cy="208133"/>
              </a:xfrm>
              <a:custGeom>
                <a:avLst/>
                <a:gdLst/>
                <a:ahLst/>
                <a:cxnLst/>
                <a:rect l="l" t="t" r="r" b="b"/>
                <a:pathLst>
                  <a:path w="278498" h="208133" extrusionOk="0">
                    <a:moveTo>
                      <a:pt x="9521" y="0"/>
                    </a:moveTo>
                    <a:cubicBezTo>
                      <a:pt x="6370" y="4041"/>
                      <a:pt x="3219" y="7877"/>
                      <a:pt x="0" y="11713"/>
                    </a:cubicBezTo>
                    <a:cubicBezTo>
                      <a:pt x="34795" y="89522"/>
                      <a:pt x="117468" y="221785"/>
                      <a:pt x="272744" y="206990"/>
                    </a:cubicBezTo>
                    <a:cubicBezTo>
                      <a:pt x="275416" y="182812"/>
                      <a:pt x="277334" y="159044"/>
                      <a:pt x="278498" y="136441"/>
                    </a:cubicBezTo>
                    <a:cubicBezTo>
                      <a:pt x="201168" y="146578"/>
                      <a:pt x="103906" y="122947"/>
                      <a:pt x="9521" y="0"/>
                    </a:cubicBezTo>
                    <a:close/>
                  </a:path>
                </a:pathLst>
              </a:custGeom>
              <a:solidFill>
                <a:srgbClr val="F0E0C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166;p14">
                <a:extLst>
                  <a:ext uri="{FF2B5EF4-FFF2-40B4-BE49-F238E27FC236}">
                    <a16:creationId xmlns:a16="http://schemas.microsoft.com/office/drawing/2014/main" id="{956980A8-A746-4982-94B7-7706218C6F83}"/>
                  </a:ext>
                </a:extLst>
              </p:cNvPr>
              <p:cNvSpPr/>
              <p:nvPr/>
            </p:nvSpPr>
            <p:spPr>
              <a:xfrm>
                <a:off x="1623727" y="2881337"/>
                <a:ext cx="606150" cy="548531"/>
              </a:xfrm>
              <a:custGeom>
                <a:avLst/>
                <a:gdLst/>
                <a:ahLst/>
                <a:cxnLst/>
                <a:rect l="l" t="t" r="r" b="b"/>
                <a:pathLst>
                  <a:path w="606150" h="548531" extrusionOk="0">
                    <a:moveTo>
                      <a:pt x="43768" y="373549"/>
                    </a:moveTo>
                    <a:cubicBezTo>
                      <a:pt x="21822" y="429769"/>
                      <a:pt x="7110" y="488551"/>
                      <a:pt x="0" y="548483"/>
                    </a:cubicBezTo>
                    <a:cubicBezTo>
                      <a:pt x="270142" y="552525"/>
                      <a:pt x="564668" y="299095"/>
                      <a:pt x="602340" y="72447"/>
                    </a:cubicBezTo>
                    <a:cubicBezTo>
                      <a:pt x="620217" y="-35089"/>
                      <a:pt x="570627" y="-3855"/>
                      <a:pt x="548161" y="44433"/>
                    </a:cubicBezTo>
                    <a:cubicBezTo>
                      <a:pt x="413980" y="333343"/>
                      <a:pt x="151099" y="356905"/>
                      <a:pt x="43768" y="373549"/>
                    </a:cubicBezTo>
                    <a:close/>
                  </a:path>
                </a:pathLst>
              </a:custGeom>
              <a:solidFill>
                <a:srgbClr val="FFFFFF">
                  <a:alpha val="5475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63" name="Google Shape;167;p14">
              <a:extLst>
                <a:ext uri="{FF2B5EF4-FFF2-40B4-BE49-F238E27FC236}">
                  <a16:creationId xmlns:a16="http://schemas.microsoft.com/office/drawing/2014/main" id="{BA79A3F6-D0D8-4927-8AB2-C1D9C30CC273}"/>
                </a:ext>
              </a:extLst>
            </p:cNvPr>
            <p:cNvGrpSpPr/>
            <p:nvPr/>
          </p:nvGrpSpPr>
          <p:grpSpPr>
            <a:xfrm rot="10800000">
              <a:off x="8162782" y="1300131"/>
              <a:ext cx="453093" cy="714197"/>
              <a:chOff x="188982" y="2740711"/>
              <a:chExt cx="745218" cy="1174666"/>
            </a:xfrm>
          </p:grpSpPr>
          <p:sp>
            <p:nvSpPr>
              <p:cNvPr id="64" name="Google Shape;168;p14">
                <a:extLst>
                  <a:ext uri="{FF2B5EF4-FFF2-40B4-BE49-F238E27FC236}">
                    <a16:creationId xmlns:a16="http://schemas.microsoft.com/office/drawing/2014/main" id="{239A0EA1-761D-433A-A0FA-6D95EFC68B7B}"/>
                  </a:ext>
                </a:extLst>
              </p:cNvPr>
              <p:cNvSpPr/>
              <p:nvPr/>
            </p:nvSpPr>
            <p:spPr>
              <a:xfrm>
                <a:off x="188982" y="2740711"/>
                <a:ext cx="745218" cy="1174666"/>
              </a:xfrm>
              <a:custGeom>
                <a:avLst/>
                <a:gdLst/>
                <a:ahLst/>
                <a:cxnLst/>
                <a:rect l="l" t="t" r="r" b="b"/>
                <a:pathLst>
                  <a:path w="745218" h="1174666" extrusionOk="0">
                    <a:moveTo>
                      <a:pt x="639800" y="385886"/>
                    </a:moveTo>
                    <a:cubicBezTo>
                      <a:pt x="639800" y="385886"/>
                      <a:pt x="355617" y="456640"/>
                      <a:pt x="197806" y="114511"/>
                    </a:cubicBezTo>
                    <a:cubicBezTo>
                      <a:pt x="120133" y="-53848"/>
                      <a:pt x="66844" y="-1313"/>
                      <a:pt x="40268" y="51359"/>
                    </a:cubicBezTo>
                    <a:cubicBezTo>
                      <a:pt x="-18637" y="169032"/>
                      <a:pt x="-80487" y="770550"/>
                      <a:pt x="384864" y="1174667"/>
                    </a:cubicBezTo>
                    <a:cubicBezTo>
                      <a:pt x="384864" y="1174598"/>
                      <a:pt x="980970" y="1027952"/>
                      <a:pt x="639800" y="385886"/>
                    </a:cubicBezTo>
                    <a:close/>
                  </a:path>
                </a:pathLst>
              </a:custGeom>
              <a:solidFill>
                <a:srgbClr val="F8F1E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" name="Google Shape;169;p14">
                <a:extLst>
                  <a:ext uri="{FF2B5EF4-FFF2-40B4-BE49-F238E27FC236}">
                    <a16:creationId xmlns:a16="http://schemas.microsoft.com/office/drawing/2014/main" id="{EC6D04B1-55ED-47D3-8465-60E3443AE322}"/>
                  </a:ext>
                </a:extLst>
              </p:cNvPr>
              <p:cNvSpPr/>
              <p:nvPr/>
            </p:nvSpPr>
            <p:spPr>
              <a:xfrm>
                <a:off x="344800" y="3112760"/>
                <a:ext cx="446368" cy="667683"/>
              </a:xfrm>
              <a:custGeom>
                <a:avLst/>
                <a:gdLst/>
                <a:ahLst/>
                <a:cxnLst/>
                <a:rect l="l" t="t" r="r" b="b"/>
                <a:pathLst>
                  <a:path w="446368" h="667683" extrusionOk="0">
                    <a:moveTo>
                      <a:pt x="0" y="526996"/>
                    </a:moveTo>
                    <a:cubicBezTo>
                      <a:pt x="167948" y="500214"/>
                      <a:pt x="398021" y="393843"/>
                      <a:pt x="301375" y="0"/>
                    </a:cubicBezTo>
                    <a:cubicBezTo>
                      <a:pt x="331033" y="10110"/>
                      <a:pt x="361849" y="16439"/>
                      <a:pt x="393089" y="18836"/>
                    </a:cubicBezTo>
                    <a:cubicBezTo>
                      <a:pt x="460488" y="183222"/>
                      <a:pt x="541791" y="533023"/>
                      <a:pt x="97947" y="667683"/>
                    </a:cubicBezTo>
                    <a:cubicBezTo>
                      <a:pt x="61639" y="623443"/>
                      <a:pt x="28888" y="576401"/>
                      <a:pt x="0" y="526996"/>
                    </a:cubicBezTo>
                    <a:close/>
                  </a:path>
                </a:pathLst>
              </a:custGeom>
              <a:solidFill>
                <a:srgbClr val="F0E0C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" name="Google Shape;170;p14">
                <a:extLst>
                  <a:ext uri="{FF2B5EF4-FFF2-40B4-BE49-F238E27FC236}">
                    <a16:creationId xmlns:a16="http://schemas.microsoft.com/office/drawing/2014/main" id="{442CAD80-FAC0-42C9-84AC-D6EF4DC0EFAB}"/>
                  </a:ext>
                </a:extLst>
              </p:cNvPr>
              <p:cNvSpPr/>
              <p:nvPr/>
            </p:nvSpPr>
            <p:spPr>
              <a:xfrm>
                <a:off x="232538" y="3061527"/>
                <a:ext cx="341567" cy="420075"/>
              </a:xfrm>
              <a:custGeom>
                <a:avLst/>
                <a:gdLst/>
                <a:ahLst/>
                <a:cxnLst/>
                <a:rect l="l" t="t" r="r" b="b"/>
                <a:pathLst>
                  <a:path w="341567" h="420075" extrusionOk="0">
                    <a:moveTo>
                      <a:pt x="314663" y="0"/>
                    </a:moveTo>
                    <a:cubicBezTo>
                      <a:pt x="323430" y="6301"/>
                      <a:pt x="332198" y="12103"/>
                      <a:pt x="340965" y="17398"/>
                    </a:cubicBezTo>
                    <a:cubicBezTo>
                      <a:pt x="346513" y="131783"/>
                      <a:pt x="318910" y="353020"/>
                      <a:pt x="36234" y="420076"/>
                    </a:cubicBezTo>
                    <a:cubicBezTo>
                      <a:pt x="21987" y="383294"/>
                      <a:pt x="10000" y="346719"/>
                      <a:pt x="0" y="310485"/>
                    </a:cubicBezTo>
                    <a:cubicBezTo>
                      <a:pt x="83495" y="305280"/>
                      <a:pt x="221785" y="254114"/>
                      <a:pt x="314663" y="0"/>
                    </a:cubicBezTo>
                    <a:close/>
                  </a:path>
                </a:pathLst>
              </a:custGeom>
              <a:solidFill>
                <a:srgbClr val="F0E0C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" name="Google Shape;171;p14">
                <a:extLst>
                  <a:ext uri="{FF2B5EF4-FFF2-40B4-BE49-F238E27FC236}">
                    <a16:creationId xmlns:a16="http://schemas.microsoft.com/office/drawing/2014/main" id="{405D66D5-008B-4F8D-89B8-45B9AE887B18}"/>
                  </a:ext>
                </a:extLst>
              </p:cNvPr>
              <p:cNvSpPr/>
              <p:nvPr/>
            </p:nvSpPr>
            <p:spPr>
              <a:xfrm>
                <a:off x="190551" y="2976457"/>
                <a:ext cx="278498" cy="208133"/>
              </a:xfrm>
              <a:custGeom>
                <a:avLst/>
                <a:gdLst/>
                <a:ahLst/>
                <a:cxnLst/>
                <a:rect l="l" t="t" r="r" b="b"/>
                <a:pathLst>
                  <a:path w="278498" h="208133" extrusionOk="0">
                    <a:moveTo>
                      <a:pt x="268977" y="0"/>
                    </a:moveTo>
                    <a:cubicBezTo>
                      <a:pt x="272128" y="4041"/>
                      <a:pt x="275347" y="7877"/>
                      <a:pt x="278498" y="11713"/>
                    </a:cubicBezTo>
                    <a:cubicBezTo>
                      <a:pt x="243703" y="89522"/>
                      <a:pt x="161099" y="221785"/>
                      <a:pt x="5754" y="206990"/>
                    </a:cubicBezTo>
                    <a:cubicBezTo>
                      <a:pt x="3082" y="182812"/>
                      <a:pt x="1233" y="159044"/>
                      <a:pt x="0" y="136441"/>
                    </a:cubicBezTo>
                    <a:cubicBezTo>
                      <a:pt x="77399" y="146578"/>
                      <a:pt x="174661" y="122947"/>
                      <a:pt x="268977" y="0"/>
                    </a:cubicBezTo>
                    <a:close/>
                  </a:path>
                </a:pathLst>
              </a:custGeom>
              <a:solidFill>
                <a:srgbClr val="F0E0C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" name="Google Shape;172;p14">
                <a:extLst>
                  <a:ext uri="{FF2B5EF4-FFF2-40B4-BE49-F238E27FC236}">
                    <a16:creationId xmlns:a16="http://schemas.microsoft.com/office/drawing/2014/main" id="{DAE33BBF-1159-4667-89B0-31B23AD503DE}"/>
                  </a:ext>
                </a:extLst>
              </p:cNvPr>
              <p:cNvSpPr/>
              <p:nvPr/>
            </p:nvSpPr>
            <p:spPr>
              <a:xfrm>
                <a:off x="324756" y="2881337"/>
                <a:ext cx="606150" cy="548531"/>
              </a:xfrm>
              <a:custGeom>
                <a:avLst/>
                <a:gdLst/>
                <a:ahLst/>
                <a:cxnLst/>
                <a:rect l="l" t="t" r="r" b="b"/>
                <a:pathLst>
                  <a:path w="606150" h="548531" extrusionOk="0">
                    <a:moveTo>
                      <a:pt x="562383" y="373549"/>
                    </a:moveTo>
                    <a:cubicBezTo>
                      <a:pt x="584328" y="429769"/>
                      <a:pt x="599041" y="488551"/>
                      <a:pt x="606151" y="548483"/>
                    </a:cubicBezTo>
                    <a:cubicBezTo>
                      <a:pt x="336009" y="552525"/>
                      <a:pt x="41483" y="299095"/>
                      <a:pt x="3811" y="72447"/>
                    </a:cubicBezTo>
                    <a:cubicBezTo>
                      <a:pt x="-14066" y="-35089"/>
                      <a:pt x="35524" y="-3855"/>
                      <a:pt x="57921" y="44433"/>
                    </a:cubicBezTo>
                    <a:cubicBezTo>
                      <a:pt x="192170" y="333343"/>
                      <a:pt x="455052" y="356905"/>
                      <a:pt x="562383" y="373549"/>
                    </a:cubicBezTo>
                    <a:close/>
                  </a:path>
                </a:pathLst>
              </a:custGeom>
              <a:solidFill>
                <a:srgbClr val="FFFFFF">
                  <a:alpha val="5475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686DB88E-B783-41A7-98F3-D4C161FC80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1666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686DB88E-B783-41A7-98F3-D4C161FC80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5" name="Google Shape;305;p22"/>
          <p:cNvSpPr txBox="1">
            <a:spLocks noGrp="1"/>
          </p:cNvSpPr>
          <p:nvPr>
            <p:ph type="title"/>
          </p:nvPr>
        </p:nvSpPr>
        <p:spPr>
          <a:xfrm>
            <a:off x="653144" y="592979"/>
            <a:ext cx="4669972" cy="3969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MX" dirty="0"/>
              <a:t>RETOS ENFRENTADOS</a:t>
            </a:r>
            <a:endParaRPr dirty="0"/>
          </a:p>
        </p:txBody>
      </p:sp>
      <p:sp>
        <p:nvSpPr>
          <p:cNvPr id="306" name="Google Shape;306;p22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4</a:t>
            </a:fld>
            <a:endParaRPr/>
          </a:p>
        </p:txBody>
      </p:sp>
      <p:sp>
        <p:nvSpPr>
          <p:cNvPr id="339" name="Google Shape;339;p22"/>
          <p:cNvSpPr/>
          <p:nvPr/>
        </p:nvSpPr>
        <p:spPr>
          <a:xfrm>
            <a:off x="2689976" y="929427"/>
            <a:ext cx="1478810" cy="442500"/>
          </a:xfrm>
          <a:prstGeom prst="roundRect">
            <a:avLst>
              <a:gd name="adj" fmla="val 50000"/>
            </a:avLst>
          </a:prstGeom>
          <a:noFill/>
          <a:ln>
            <a:noFill/>
          </a:ln>
          <a:effectLst>
            <a:outerShdw blurRad="28575" dist="9525" dir="5400000" algn="bl" rotWithShape="0">
              <a:schemeClr val="dk1">
                <a:alpha val="25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MX" dirty="0">
                <a:solidFill>
                  <a:schemeClr val="accent4"/>
                </a:solidFill>
                <a:latin typeface="Quicksand Light"/>
                <a:ea typeface="Quicksand Light"/>
                <a:cs typeface="Quicksand Light"/>
                <a:sym typeface="Quicksand Light"/>
              </a:rPr>
              <a:t> </a:t>
            </a:r>
            <a:endParaRPr dirty="0">
              <a:solidFill>
                <a:schemeClr val="accent4"/>
              </a:solidFill>
              <a:latin typeface="Quicksand Light"/>
              <a:ea typeface="Quicksand Light"/>
              <a:cs typeface="Quicksand Light"/>
              <a:sym typeface="Quicksand Light"/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01ED4E43-3D4C-490F-B002-E3A7930FC396}"/>
              </a:ext>
            </a:extLst>
          </p:cNvPr>
          <p:cNvGrpSpPr/>
          <p:nvPr/>
        </p:nvGrpSpPr>
        <p:grpSpPr>
          <a:xfrm>
            <a:off x="5244737" y="1123406"/>
            <a:ext cx="3694365" cy="2694034"/>
            <a:chOff x="1875231" y="2384206"/>
            <a:chExt cx="5393539" cy="2106543"/>
          </a:xfrm>
        </p:grpSpPr>
        <p:sp>
          <p:nvSpPr>
            <p:cNvPr id="55" name="Google Shape;419;p25">
              <a:extLst>
                <a:ext uri="{FF2B5EF4-FFF2-40B4-BE49-F238E27FC236}">
                  <a16:creationId xmlns:a16="http://schemas.microsoft.com/office/drawing/2014/main" id="{D55C3507-A8ED-4EC1-A9B9-3DAD35FDB105}"/>
                </a:ext>
              </a:extLst>
            </p:cNvPr>
            <p:cNvSpPr/>
            <p:nvPr/>
          </p:nvSpPr>
          <p:spPr>
            <a:xfrm rot="5400000" flipH="1">
              <a:off x="1695526" y="2563911"/>
              <a:ext cx="1388149" cy="1028739"/>
            </a:xfrm>
            <a:custGeom>
              <a:avLst/>
              <a:gdLst/>
              <a:ahLst/>
              <a:cxnLst/>
              <a:rect l="l" t="t" r="r" b="b"/>
              <a:pathLst>
                <a:path w="1256243" h="1404422" extrusionOk="0">
                  <a:moveTo>
                    <a:pt x="136989" y="466050"/>
                  </a:moveTo>
                  <a:cubicBezTo>
                    <a:pt x="136989" y="466050"/>
                    <a:pt x="267128" y="-13411"/>
                    <a:pt x="705492" y="288"/>
                  </a:cubicBezTo>
                  <a:cubicBezTo>
                    <a:pt x="1198652" y="15699"/>
                    <a:pt x="1243790" y="411254"/>
                    <a:pt x="1253447" y="589340"/>
                  </a:cubicBezTo>
                  <a:cubicBezTo>
                    <a:pt x="1267146" y="842769"/>
                    <a:pt x="1239748" y="1020854"/>
                    <a:pt x="958921" y="1150994"/>
                  </a:cubicBezTo>
                  <a:cubicBezTo>
                    <a:pt x="958921" y="1150994"/>
                    <a:pt x="1137007" y="911263"/>
                    <a:pt x="1013717" y="719479"/>
                  </a:cubicBezTo>
                  <a:cubicBezTo>
                    <a:pt x="1013717" y="719479"/>
                    <a:pt x="965771" y="1301681"/>
                    <a:pt x="404117" y="1404423"/>
                  </a:cubicBezTo>
                  <a:cubicBezTo>
                    <a:pt x="404117" y="1404423"/>
                    <a:pt x="657546" y="1157843"/>
                    <a:pt x="506858" y="801672"/>
                  </a:cubicBezTo>
                  <a:cubicBezTo>
                    <a:pt x="506858" y="801672"/>
                    <a:pt x="520557" y="1144144"/>
                    <a:pt x="123290" y="1130445"/>
                  </a:cubicBezTo>
                  <a:cubicBezTo>
                    <a:pt x="123290" y="1130445"/>
                    <a:pt x="363020" y="993457"/>
                    <a:pt x="294526" y="746877"/>
                  </a:cubicBezTo>
                  <a:cubicBezTo>
                    <a:pt x="253429" y="842769"/>
                    <a:pt x="157537" y="904414"/>
                    <a:pt x="0" y="870167"/>
                  </a:cubicBezTo>
                  <a:cubicBezTo>
                    <a:pt x="116440" y="801672"/>
                    <a:pt x="116440" y="561942"/>
                    <a:pt x="136989" y="466050"/>
                  </a:cubicBezTo>
                  <a:close/>
                </a:path>
              </a:pathLst>
            </a:custGeom>
            <a:gradFill>
              <a:gsLst>
                <a:gs pos="0">
                  <a:srgbClr val="FFFFFF">
                    <a:alpha val="0"/>
                  </a:srgbClr>
                </a:gs>
                <a:gs pos="65000">
                  <a:schemeClr val="accent6"/>
                </a:gs>
                <a:gs pos="100000">
                  <a:schemeClr val="accent6"/>
                </a:gs>
              </a:gsLst>
              <a:lin ang="5400012" scaled="0"/>
            </a:gradFill>
            <a:ln>
              <a:noFill/>
            </a:ln>
            <a:effectLst>
              <a:outerShdw blurRad="28575" dist="38100" dir="5400000" algn="bl" rotWithShape="0">
                <a:schemeClr val="dk1">
                  <a:alpha val="20000"/>
                </a:scheme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420;p25">
              <a:extLst>
                <a:ext uri="{FF2B5EF4-FFF2-40B4-BE49-F238E27FC236}">
                  <a16:creationId xmlns:a16="http://schemas.microsoft.com/office/drawing/2014/main" id="{774F24FE-55AA-41FD-B704-4CA38C95434B}"/>
                </a:ext>
              </a:extLst>
            </p:cNvPr>
            <p:cNvSpPr/>
            <p:nvPr/>
          </p:nvSpPr>
          <p:spPr>
            <a:xfrm rot="-5400000">
              <a:off x="6060326" y="2563911"/>
              <a:ext cx="1388149" cy="1028739"/>
            </a:xfrm>
            <a:custGeom>
              <a:avLst/>
              <a:gdLst/>
              <a:ahLst/>
              <a:cxnLst/>
              <a:rect l="l" t="t" r="r" b="b"/>
              <a:pathLst>
                <a:path w="1256243" h="1404422" extrusionOk="0">
                  <a:moveTo>
                    <a:pt x="136989" y="466050"/>
                  </a:moveTo>
                  <a:cubicBezTo>
                    <a:pt x="136989" y="466050"/>
                    <a:pt x="267128" y="-13411"/>
                    <a:pt x="705492" y="288"/>
                  </a:cubicBezTo>
                  <a:cubicBezTo>
                    <a:pt x="1198652" y="15699"/>
                    <a:pt x="1243790" y="411254"/>
                    <a:pt x="1253447" y="589340"/>
                  </a:cubicBezTo>
                  <a:cubicBezTo>
                    <a:pt x="1267146" y="842769"/>
                    <a:pt x="1239748" y="1020854"/>
                    <a:pt x="958921" y="1150994"/>
                  </a:cubicBezTo>
                  <a:cubicBezTo>
                    <a:pt x="958921" y="1150994"/>
                    <a:pt x="1137007" y="911263"/>
                    <a:pt x="1013717" y="719479"/>
                  </a:cubicBezTo>
                  <a:cubicBezTo>
                    <a:pt x="1013717" y="719479"/>
                    <a:pt x="965771" y="1301681"/>
                    <a:pt x="404117" y="1404423"/>
                  </a:cubicBezTo>
                  <a:cubicBezTo>
                    <a:pt x="404117" y="1404423"/>
                    <a:pt x="657546" y="1157843"/>
                    <a:pt x="506858" y="801672"/>
                  </a:cubicBezTo>
                  <a:cubicBezTo>
                    <a:pt x="506858" y="801672"/>
                    <a:pt x="520557" y="1144144"/>
                    <a:pt x="123290" y="1130445"/>
                  </a:cubicBezTo>
                  <a:cubicBezTo>
                    <a:pt x="123290" y="1130445"/>
                    <a:pt x="363020" y="993457"/>
                    <a:pt x="294526" y="746877"/>
                  </a:cubicBezTo>
                  <a:cubicBezTo>
                    <a:pt x="253429" y="842769"/>
                    <a:pt x="157537" y="904414"/>
                    <a:pt x="0" y="870167"/>
                  </a:cubicBezTo>
                  <a:cubicBezTo>
                    <a:pt x="116440" y="801672"/>
                    <a:pt x="116440" y="561942"/>
                    <a:pt x="136989" y="466050"/>
                  </a:cubicBezTo>
                  <a:close/>
                </a:path>
              </a:pathLst>
            </a:custGeom>
            <a:gradFill>
              <a:gsLst>
                <a:gs pos="0">
                  <a:srgbClr val="FFFFFF">
                    <a:alpha val="0"/>
                  </a:srgbClr>
                </a:gs>
                <a:gs pos="65000">
                  <a:schemeClr val="accent6"/>
                </a:gs>
                <a:gs pos="100000">
                  <a:schemeClr val="accent6"/>
                </a:gs>
              </a:gsLst>
              <a:lin ang="5400012" scaled="0"/>
            </a:gradFill>
            <a:ln>
              <a:noFill/>
            </a:ln>
            <a:effectLst>
              <a:outerShdw blurRad="28575" dist="38100" dir="5400000" algn="bl" rotWithShape="0">
                <a:schemeClr val="dk1">
                  <a:alpha val="20000"/>
                </a:scheme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7" name="Google Shape;424;p25">
              <a:extLst>
                <a:ext uri="{FF2B5EF4-FFF2-40B4-BE49-F238E27FC236}">
                  <a16:creationId xmlns:a16="http://schemas.microsoft.com/office/drawing/2014/main" id="{F02F0F92-9E9F-411B-A99D-E4A0559CF703}"/>
                </a:ext>
              </a:extLst>
            </p:cNvPr>
            <p:cNvGrpSpPr/>
            <p:nvPr/>
          </p:nvGrpSpPr>
          <p:grpSpPr>
            <a:xfrm>
              <a:off x="3921496" y="3632986"/>
              <a:ext cx="1301013" cy="857763"/>
              <a:chOff x="6080071" y="2960311"/>
              <a:chExt cx="1301013" cy="857763"/>
            </a:xfrm>
          </p:grpSpPr>
          <p:sp>
            <p:nvSpPr>
              <p:cNvPr id="100" name="Google Shape;425;p25">
                <a:extLst>
                  <a:ext uri="{FF2B5EF4-FFF2-40B4-BE49-F238E27FC236}">
                    <a16:creationId xmlns:a16="http://schemas.microsoft.com/office/drawing/2014/main" id="{92FD6B94-C295-4D43-A750-CB72E4084FC2}"/>
                  </a:ext>
                </a:extLst>
              </p:cNvPr>
              <p:cNvSpPr/>
              <p:nvPr/>
            </p:nvSpPr>
            <p:spPr>
              <a:xfrm>
                <a:off x="6080071" y="2960311"/>
                <a:ext cx="1301013" cy="857421"/>
              </a:xfrm>
              <a:custGeom>
                <a:avLst/>
                <a:gdLst/>
                <a:ahLst/>
                <a:cxnLst/>
                <a:rect l="l" t="t" r="r" b="b"/>
                <a:pathLst>
                  <a:path w="2141585" h="1411393" extrusionOk="0">
                    <a:moveTo>
                      <a:pt x="0" y="419802"/>
                    </a:moveTo>
                    <a:lnTo>
                      <a:pt x="2132709" y="0"/>
                    </a:lnTo>
                    <a:cubicBezTo>
                      <a:pt x="2132709" y="0"/>
                      <a:pt x="2300658" y="1376737"/>
                      <a:pt x="1175500" y="1410574"/>
                    </a:cubicBezTo>
                    <a:cubicBezTo>
                      <a:pt x="50343" y="1444410"/>
                      <a:pt x="0" y="419802"/>
                      <a:pt x="0" y="419802"/>
                    </a:cubicBezTo>
                    <a:close/>
                  </a:path>
                </a:pathLst>
              </a:custGeom>
              <a:solidFill>
                <a:srgbClr val="4C113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" name="Google Shape;426;p25">
                <a:extLst>
                  <a:ext uri="{FF2B5EF4-FFF2-40B4-BE49-F238E27FC236}">
                    <a16:creationId xmlns:a16="http://schemas.microsoft.com/office/drawing/2014/main" id="{9B0E58FC-517A-4696-80A1-C860A3D52B62}"/>
                  </a:ext>
                </a:extLst>
              </p:cNvPr>
              <p:cNvSpPr/>
              <p:nvPr/>
            </p:nvSpPr>
            <p:spPr>
              <a:xfrm>
                <a:off x="6327898" y="3465710"/>
                <a:ext cx="879268" cy="352365"/>
              </a:xfrm>
              <a:custGeom>
                <a:avLst/>
                <a:gdLst/>
                <a:ahLst/>
                <a:cxnLst/>
                <a:rect l="l" t="t" r="r" b="b"/>
                <a:pathLst>
                  <a:path w="1447354" h="580024" extrusionOk="0">
                    <a:moveTo>
                      <a:pt x="1447355" y="287676"/>
                    </a:moveTo>
                    <a:cubicBezTo>
                      <a:pt x="1320914" y="12671"/>
                      <a:pt x="873783" y="0"/>
                      <a:pt x="658779" y="0"/>
                    </a:cubicBezTo>
                    <a:cubicBezTo>
                      <a:pt x="406856" y="0"/>
                      <a:pt x="54179" y="83974"/>
                      <a:pt x="0" y="366856"/>
                    </a:cubicBezTo>
                    <a:cubicBezTo>
                      <a:pt x="172743" y="498159"/>
                      <a:pt x="418500" y="589805"/>
                      <a:pt x="767890" y="579188"/>
                    </a:cubicBezTo>
                    <a:cubicBezTo>
                      <a:pt x="1087759" y="570010"/>
                      <a:pt x="1302968" y="451583"/>
                      <a:pt x="1447355" y="287676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4"/>
                  </a:gs>
                  <a:gs pos="100000">
                    <a:srgbClr val="FF6B4B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" name="Google Shape;427;p25">
                <a:extLst>
                  <a:ext uri="{FF2B5EF4-FFF2-40B4-BE49-F238E27FC236}">
                    <a16:creationId xmlns:a16="http://schemas.microsoft.com/office/drawing/2014/main" id="{C098F74F-9BED-4F21-B3AD-DDB79C6791C9}"/>
                  </a:ext>
                </a:extLst>
              </p:cNvPr>
              <p:cNvSpPr/>
              <p:nvPr/>
            </p:nvSpPr>
            <p:spPr>
              <a:xfrm>
                <a:off x="6487354" y="3095947"/>
                <a:ext cx="200728" cy="193929"/>
              </a:xfrm>
              <a:custGeom>
                <a:avLst/>
                <a:gdLst/>
                <a:ahLst/>
                <a:cxnLst/>
                <a:rect l="l" t="t" r="r" b="b"/>
                <a:pathLst>
                  <a:path w="330416" h="319224" extrusionOk="0">
                    <a:moveTo>
                      <a:pt x="0" y="65070"/>
                    </a:moveTo>
                    <a:cubicBezTo>
                      <a:pt x="36850" y="195209"/>
                      <a:pt x="93564" y="314869"/>
                      <a:pt x="178085" y="319115"/>
                    </a:cubicBezTo>
                    <a:cubicBezTo>
                      <a:pt x="275074" y="324047"/>
                      <a:pt x="314731" y="160345"/>
                      <a:pt x="330417" y="0"/>
                    </a:cubicBezTo>
                    <a:close/>
                  </a:path>
                </a:pathLst>
              </a:custGeom>
              <a:gradFill>
                <a:gsLst>
                  <a:gs pos="0">
                    <a:srgbClr val="F0E0C7"/>
                  </a:gs>
                  <a:gs pos="50000">
                    <a:srgbClr val="F8F1E4"/>
                  </a:gs>
                  <a:gs pos="100000">
                    <a:schemeClr val="lt1"/>
                  </a:gs>
                </a:gsLst>
                <a:lin ang="5400012" scaled="0"/>
              </a:gradFill>
              <a:ln>
                <a:noFill/>
              </a:ln>
              <a:effectLst>
                <a:outerShdw blurRad="28575" dist="19050" dir="5400000" algn="bl" rotWithShape="0">
                  <a:schemeClr val="dk1">
                    <a:alpha val="64999"/>
                  </a:scheme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428;p25">
                <a:extLst>
                  <a:ext uri="{FF2B5EF4-FFF2-40B4-BE49-F238E27FC236}">
                    <a16:creationId xmlns:a16="http://schemas.microsoft.com/office/drawing/2014/main" id="{EE89A980-3DE4-4484-BE71-CC8345CC2EBD}"/>
                  </a:ext>
                </a:extLst>
              </p:cNvPr>
              <p:cNvSpPr/>
              <p:nvPr/>
            </p:nvSpPr>
            <p:spPr>
              <a:xfrm>
                <a:off x="6233989" y="3151418"/>
                <a:ext cx="172433" cy="159757"/>
              </a:xfrm>
              <a:custGeom>
                <a:avLst/>
                <a:gdLst/>
                <a:ahLst/>
                <a:cxnLst/>
                <a:rect l="l" t="t" r="r" b="b"/>
                <a:pathLst>
                  <a:path w="283840" h="262975" extrusionOk="0">
                    <a:moveTo>
                      <a:pt x="283841" y="0"/>
                    </a:moveTo>
                    <a:lnTo>
                      <a:pt x="0" y="55892"/>
                    </a:lnTo>
                    <a:cubicBezTo>
                      <a:pt x="32398" y="163907"/>
                      <a:pt x="80960" y="259320"/>
                      <a:pt x="151852" y="262881"/>
                    </a:cubicBezTo>
                    <a:cubicBezTo>
                      <a:pt x="233498" y="266991"/>
                      <a:pt x="268909" y="135003"/>
                      <a:pt x="283841" y="0"/>
                    </a:cubicBezTo>
                    <a:close/>
                  </a:path>
                </a:pathLst>
              </a:custGeom>
              <a:gradFill>
                <a:gsLst>
                  <a:gs pos="0">
                    <a:srgbClr val="F0E0C7"/>
                  </a:gs>
                  <a:gs pos="50000">
                    <a:srgbClr val="F8F1E4"/>
                  </a:gs>
                  <a:gs pos="100000">
                    <a:schemeClr val="lt1"/>
                  </a:gs>
                </a:gsLst>
                <a:lin ang="5400012" scaled="0"/>
              </a:gradFill>
              <a:ln>
                <a:noFill/>
              </a:ln>
              <a:effectLst>
                <a:outerShdw blurRad="28575" dist="19050" dir="5400000" algn="bl" rotWithShape="0">
                  <a:schemeClr val="dk1">
                    <a:alpha val="64999"/>
                  </a:scheme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429;p25">
                <a:extLst>
                  <a:ext uri="{FF2B5EF4-FFF2-40B4-BE49-F238E27FC236}">
                    <a16:creationId xmlns:a16="http://schemas.microsoft.com/office/drawing/2014/main" id="{DAFF7131-FE42-4D26-B451-0D35109C5226}"/>
                  </a:ext>
                </a:extLst>
              </p:cNvPr>
              <p:cNvSpPr/>
              <p:nvPr/>
            </p:nvSpPr>
            <p:spPr>
              <a:xfrm>
                <a:off x="7030567" y="2990920"/>
                <a:ext cx="191158" cy="259785"/>
              </a:xfrm>
              <a:custGeom>
                <a:avLst/>
                <a:gdLst/>
                <a:ahLst/>
                <a:cxnLst/>
                <a:rect l="l" t="t" r="r" b="b"/>
                <a:pathLst>
                  <a:path w="314663" h="427629" extrusionOk="0">
                    <a:moveTo>
                      <a:pt x="0" y="61919"/>
                    </a:moveTo>
                    <a:cubicBezTo>
                      <a:pt x="23494" y="204593"/>
                      <a:pt x="76440" y="422268"/>
                      <a:pt x="181031" y="427542"/>
                    </a:cubicBezTo>
                    <a:cubicBezTo>
                      <a:pt x="297060" y="433364"/>
                      <a:pt x="313705" y="146715"/>
                      <a:pt x="314664" y="0"/>
                    </a:cubicBezTo>
                    <a:close/>
                  </a:path>
                </a:pathLst>
              </a:custGeom>
              <a:gradFill>
                <a:gsLst>
                  <a:gs pos="0">
                    <a:srgbClr val="F0E0C7"/>
                  </a:gs>
                  <a:gs pos="50000">
                    <a:srgbClr val="F8F1E4"/>
                  </a:gs>
                  <a:gs pos="100000">
                    <a:schemeClr val="lt1"/>
                  </a:gs>
                </a:gsLst>
                <a:lin ang="5400012" scaled="0"/>
              </a:gradFill>
              <a:ln>
                <a:noFill/>
              </a:ln>
              <a:effectLst>
                <a:outerShdw blurRad="28575" dist="19050" dir="5400000" algn="bl" rotWithShape="0">
                  <a:schemeClr val="dk1">
                    <a:alpha val="64999"/>
                  </a:scheme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430;p25">
                <a:extLst>
                  <a:ext uri="{FF2B5EF4-FFF2-40B4-BE49-F238E27FC236}">
                    <a16:creationId xmlns:a16="http://schemas.microsoft.com/office/drawing/2014/main" id="{4A09A152-BA9D-4051-A379-59A4D33CE8D5}"/>
                  </a:ext>
                </a:extLst>
              </p:cNvPr>
              <p:cNvSpPr/>
              <p:nvPr/>
            </p:nvSpPr>
            <p:spPr>
              <a:xfrm>
                <a:off x="6771121" y="3039228"/>
                <a:ext cx="205138" cy="231006"/>
              </a:xfrm>
              <a:custGeom>
                <a:avLst/>
                <a:gdLst/>
                <a:ahLst/>
                <a:cxnLst/>
                <a:rect l="l" t="t" r="r" b="b"/>
                <a:pathLst>
                  <a:path w="337676" h="380256" extrusionOk="0">
                    <a:moveTo>
                      <a:pt x="337677" y="0"/>
                    </a:moveTo>
                    <a:lnTo>
                      <a:pt x="0" y="66439"/>
                    </a:lnTo>
                    <a:cubicBezTo>
                      <a:pt x="33288" y="214524"/>
                      <a:pt x="91371" y="375281"/>
                      <a:pt x="187469" y="380144"/>
                    </a:cubicBezTo>
                    <a:cubicBezTo>
                      <a:pt x="295279" y="385897"/>
                      <a:pt x="328362" y="171304"/>
                      <a:pt x="337677" y="0"/>
                    </a:cubicBezTo>
                    <a:close/>
                  </a:path>
                </a:pathLst>
              </a:custGeom>
              <a:gradFill>
                <a:gsLst>
                  <a:gs pos="0">
                    <a:srgbClr val="F0E0C7"/>
                  </a:gs>
                  <a:gs pos="50000">
                    <a:srgbClr val="F8F1E4"/>
                  </a:gs>
                  <a:gs pos="100000">
                    <a:schemeClr val="lt1"/>
                  </a:gs>
                </a:gsLst>
                <a:lin ang="5400012" scaled="0"/>
              </a:gradFill>
              <a:ln>
                <a:noFill/>
              </a:ln>
              <a:effectLst>
                <a:outerShdw blurRad="28575" dist="19050" dir="5400000" algn="bl" rotWithShape="0">
                  <a:schemeClr val="dk1">
                    <a:alpha val="64999"/>
                  </a:scheme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58" name="Google Shape;431;p25">
              <a:extLst>
                <a:ext uri="{FF2B5EF4-FFF2-40B4-BE49-F238E27FC236}">
                  <a16:creationId xmlns:a16="http://schemas.microsoft.com/office/drawing/2014/main" id="{76AF34DF-B5F3-4C15-8A22-F16292DBD688}"/>
                </a:ext>
              </a:extLst>
            </p:cNvPr>
            <p:cNvGrpSpPr/>
            <p:nvPr/>
          </p:nvGrpSpPr>
          <p:grpSpPr>
            <a:xfrm>
              <a:off x="3073375" y="2733105"/>
              <a:ext cx="1008772" cy="783347"/>
              <a:chOff x="2860826" y="401530"/>
              <a:chExt cx="2115269" cy="1642581"/>
            </a:xfrm>
          </p:grpSpPr>
          <p:sp>
            <p:nvSpPr>
              <p:cNvPr id="93" name="Google Shape;432;p25">
                <a:extLst>
                  <a:ext uri="{FF2B5EF4-FFF2-40B4-BE49-F238E27FC236}">
                    <a16:creationId xmlns:a16="http://schemas.microsoft.com/office/drawing/2014/main" id="{2841C538-FDC1-4956-8BF8-C2CC3C5722B7}"/>
                  </a:ext>
                </a:extLst>
              </p:cNvPr>
              <p:cNvSpPr/>
              <p:nvPr/>
            </p:nvSpPr>
            <p:spPr>
              <a:xfrm>
                <a:off x="2860826" y="401530"/>
                <a:ext cx="2115269" cy="1642581"/>
              </a:xfrm>
              <a:custGeom>
                <a:avLst/>
                <a:gdLst/>
                <a:ahLst/>
                <a:cxnLst/>
                <a:rect l="l" t="t" r="r" b="b"/>
                <a:pathLst>
                  <a:path w="2115269" h="1642581" extrusionOk="0">
                    <a:moveTo>
                      <a:pt x="245052" y="1642582"/>
                    </a:moveTo>
                    <a:cubicBezTo>
                      <a:pt x="509714" y="1619636"/>
                      <a:pt x="782253" y="1607649"/>
                      <a:pt x="1060477" y="1607649"/>
                    </a:cubicBezTo>
                    <a:cubicBezTo>
                      <a:pt x="1331715" y="1607649"/>
                      <a:pt x="1597541" y="1619088"/>
                      <a:pt x="1855902" y="1640869"/>
                    </a:cubicBezTo>
                    <a:cubicBezTo>
                      <a:pt x="1868690" y="1627170"/>
                      <a:pt x="1881060" y="1612992"/>
                      <a:pt x="1893026" y="1598334"/>
                    </a:cubicBezTo>
                    <a:cubicBezTo>
                      <a:pt x="1980028" y="1493928"/>
                      <a:pt x="2044145" y="1372426"/>
                      <a:pt x="2081249" y="1241684"/>
                    </a:cubicBezTo>
                    <a:cubicBezTo>
                      <a:pt x="2119756" y="1105894"/>
                      <a:pt x="2125668" y="962926"/>
                      <a:pt x="2098509" y="824416"/>
                    </a:cubicBezTo>
                    <a:cubicBezTo>
                      <a:pt x="2049057" y="569754"/>
                      <a:pt x="1935630" y="368312"/>
                      <a:pt x="1761449" y="225501"/>
                    </a:cubicBezTo>
                    <a:cubicBezTo>
                      <a:pt x="1578980" y="75910"/>
                      <a:pt x="1339797" y="18"/>
                      <a:pt x="1050682" y="18"/>
                    </a:cubicBezTo>
                    <a:cubicBezTo>
                      <a:pt x="903988" y="-836"/>
                      <a:pt x="758732" y="28980"/>
                      <a:pt x="624236" y="87554"/>
                    </a:cubicBezTo>
                    <a:cubicBezTo>
                      <a:pt x="501508" y="141599"/>
                      <a:pt x="390609" y="219263"/>
                      <a:pt x="297861" y="316119"/>
                    </a:cubicBezTo>
                    <a:cubicBezTo>
                      <a:pt x="101419" y="520575"/>
                      <a:pt x="-9679" y="802772"/>
                      <a:pt x="663" y="1071749"/>
                    </a:cubicBezTo>
                    <a:cubicBezTo>
                      <a:pt x="9088" y="1284356"/>
                      <a:pt x="94775" y="1483332"/>
                      <a:pt x="245052" y="1642582"/>
                    </a:cubicBezTo>
                    <a:close/>
                  </a:path>
                </a:pathLst>
              </a:custGeom>
              <a:solidFill>
                <a:srgbClr val="09052E">
                  <a:alpha val="1173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" name="Google Shape;433;p25">
                <a:extLst>
                  <a:ext uri="{FF2B5EF4-FFF2-40B4-BE49-F238E27FC236}">
                    <a16:creationId xmlns:a16="http://schemas.microsoft.com/office/drawing/2014/main" id="{B641DE14-6F36-45E4-B67B-8B58AE00B466}"/>
                  </a:ext>
                </a:extLst>
              </p:cNvPr>
              <p:cNvSpPr/>
              <p:nvPr/>
            </p:nvSpPr>
            <p:spPr>
              <a:xfrm>
                <a:off x="2983792" y="475316"/>
                <a:ext cx="1869056" cy="1552082"/>
              </a:xfrm>
              <a:custGeom>
                <a:avLst/>
                <a:gdLst/>
                <a:ahLst/>
                <a:cxnLst/>
                <a:rect l="l" t="t" r="r" b="b"/>
                <a:pathLst>
                  <a:path w="1869056" h="1552082" extrusionOk="0">
                    <a:moveTo>
                      <a:pt x="347020" y="1552083"/>
                    </a:moveTo>
                    <a:cubicBezTo>
                      <a:pt x="540360" y="1540028"/>
                      <a:pt x="737185" y="1533952"/>
                      <a:pt x="937510" y="1533863"/>
                    </a:cubicBezTo>
                    <a:cubicBezTo>
                      <a:pt x="1132446" y="1533863"/>
                      <a:pt x="1324230" y="1539637"/>
                      <a:pt x="1512863" y="1551192"/>
                    </a:cubicBezTo>
                    <a:cubicBezTo>
                      <a:pt x="1766292" y="1362285"/>
                      <a:pt x="1918076" y="1051183"/>
                      <a:pt x="1854650" y="724876"/>
                    </a:cubicBezTo>
                    <a:cubicBezTo>
                      <a:pt x="1769717" y="285279"/>
                      <a:pt x="1464506" y="0"/>
                      <a:pt x="927716" y="0"/>
                    </a:cubicBezTo>
                    <a:cubicBezTo>
                      <a:pt x="337774" y="0"/>
                      <a:pt x="-16274" y="505694"/>
                      <a:pt x="576" y="943990"/>
                    </a:cubicBezTo>
                    <a:cubicBezTo>
                      <a:pt x="10028" y="1188583"/>
                      <a:pt x="140167" y="1406875"/>
                      <a:pt x="347020" y="155208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" name="Google Shape;434;p25">
                <a:extLst>
                  <a:ext uri="{FF2B5EF4-FFF2-40B4-BE49-F238E27FC236}">
                    <a16:creationId xmlns:a16="http://schemas.microsoft.com/office/drawing/2014/main" id="{0FE9FA83-22E2-48EC-9E17-E02956659440}"/>
                  </a:ext>
                </a:extLst>
              </p:cNvPr>
              <p:cNvSpPr/>
              <p:nvPr/>
            </p:nvSpPr>
            <p:spPr>
              <a:xfrm>
                <a:off x="3539074" y="677245"/>
                <a:ext cx="758060" cy="758156"/>
              </a:xfrm>
              <a:custGeom>
                <a:avLst/>
                <a:gdLst/>
                <a:ahLst/>
                <a:cxnLst/>
                <a:rect l="l" t="t" r="r" b="b"/>
                <a:pathLst>
                  <a:path w="758060" h="758156" extrusionOk="0">
                    <a:moveTo>
                      <a:pt x="724496" y="223151"/>
                    </a:moveTo>
                    <a:cubicBezTo>
                      <a:pt x="687310" y="294289"/>
                      <a:pt x="599493" y="321817"/>
                      <a:pt x="528355" y="284631"/>
                    </a:cubicBezTo>
                    <a:cubicBezTo>
                      <a:pt x="457217" y="247446"/>
                      <a:pt x="429689" y="159629"/>
                      <a:pt x="466875" y="88491"/>
                    </a:cubicBezTo>
                    <a:cubicBezTo>
                      <a:pt x="479923" y="63532"/>
                      <a:pt x="499937" y="42901"/>
                      <a:pt x="524492" y="29106"/>
                    </a:cubicBezTo>
                    <a:cubicBezTo>
                      <a:pt x="331208" y="-51203"/>
                      <a:pt x="109416" y="40382"/>
                      <a:pt x="29107" y="233665"/>
                    </a:cubicBezTo>
                    <a:cubicBezTo>
                      <a:pt x="-51203" y="426949"/>
                      <a:pt x="40381" y="648740"/>
                      <a:pt x="233665" y="729050"/>
                    </a:cubicBezTo>
                    <a:cubicBezTo>
                      <a:pt x="426949" y="809360"/>
                      <a:pt x="648741" y="717776"/>
                      <a:pt x="729051" y="524492"/>
                    </a:cubicBezTo>
                    <a:cubicBezTo>
                      <a:pt x="769257" y="427730"/>
                      <a:pt x="767606" y="318645"/>
                      <a:pt x="724496" y="223151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5"/>
                  </a:gs>
                  <a:gs pos="100000">
                    <a:schemeClr val="accent6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435;p25">
                <a:extLst>
                  <a:ext uri="{FF2B5EF4-FFF2-40B4-BE49-F238E27FC236}">
                    <a16:creationId xmlns:a16="http://schemas.microsoft.com/office/drawing/2014/main" id="{C556B4E7-B378-4AA3-B090-9E255E911A0A}"/>
                  </a:ext>
                </a:extLst>
              </p:cNvPr>
              <p:cNvSpPr/>
              <p:nvPr/>
            </p:nvSpPr>
            <p:spPr>
              <a:xfrm>
                <a:off x="3712949" y="849942"/>
                <a:ext cx="411706" cy="411763"/>
              </a:xfrm>
              <a:custGeom>
                <a:avLst/>
                <a:gdLst/>
                <a:ahLst/>
                <a:cxnLst/>
                <a:rect l="l" t="t" r="r" b="b"/>
                <a:pathLst>
                  <a:path w="411706" h="411763" extrusionOk="0">
                    <a:moveTo>
                      <a:pt x="279862" y="13810"/>
                    </a:moveTo>
                    <a:cubicBezTo>
                      <a:pt x="173784" y="-27047"/>
                      <a:pt x="54666" y="25824"/>
                      <a:pt x="13809" y="131901"/>
                    </a:cubicBezTo>
                    <a:cubicBezTo>
                      <a:pt x="-27048" y="237978"/>
                      <a:pt x="25830" y="357097"/>
                      <a:pt x="131907" y="397954"/>
                    </a:cubicBezTo>
                    <a:cubicBezTo>
                      <a:pt x="237984" y="438811"/>
                      <a:pt x="357096" y="385940"/>
                      <a:pt x="397953" y="279863"/>
                    </a:cubicBezTo>
                    <a:cubicBezTo>
                      <a:pt x="417090" y="230170"/>
                      <a:pt x="416227" y="174998"/>
                      <a:pt x="395549" y="125935"/>
                    </a:cubicBezTo>
                    <a:cubicBezTo>
                      <a:pt x="337897" y="115325"/>
                      <a:pt x="292273" y="71105"/>
                      <a:pt x="279862" y="1381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436;p25">
                <a:extLst>
                  <a:ext uri="{FF2B5EF4-FFF2-40B4-BE49-F238E27FC236}">
                    <a16:creationId xmlns:a16="http://schemas.microsoft.com/office/drawing/2014/main" id="{0FCD30C4-4DBE-4C67-A584-44AF8DBC0DC3}"/>
                  </a:ext>
                </a:extLst>
              </p:cNvPr>
              <p:cNvSpPr/>
              <p:nvPr/>
            </p:nvSpPr>
            <p:spPr>
              <a:xfrm>
                <a:off x="2983798" y="1299235"/>
                <a:ext cx="1868927" cy="728163"/>
              </a:xfrm>
              <a:custGeom>
                <a:avLst/>
                <a:gdLst/>
                <a:ahLst/>
                <a:cxnLst/>
                <a:rect l="l" t="t" r="r" b="b"/>
                <a:pathLst>
                  <a:path w="1868927" h="728163" extrusionOk="0">
                    <a:moveTo>
                      <a:pt x="347015" y="728164"/>
                    </a:moveTo>
                    <a:cubicBezTo>
                      <a:pt x="540354" y="716109"/>
                      <a:pt x="737179" y="710033"/>
                      <a:pt x="937505" y="709944"/>
                    </a:cubicBezTo>
                    <a:cubicBezTo>
                      <a:pt x="1132440" y="709944"/>
                      <a:pt x="1324224" y="715718"/>
                      <a:pt x="1512858" y="727273"/>
                    </a:cubicBezTo>
                    <a:cubicBezTo>
                      <a:pt x="1740396" y="557613"/>
                      <a:pt x="1886015" y="289457"/>
                      <a:pt x="1867316" y="0"/>
                    </a:cubicBezTo>
                    <a:cubicBezTo>
                      <a:pt x="1727793" y="347404"/>
                      <a:pt x="1367307" y="603915"/>
                      <a:pt x="963190" y="603915"/>
                    </a:cubicBezTo>
                    <a:cubicBezTo>
                      <a:pt x="507292" y="603915"/>
                      <a:pt x="141943" y="366308"/>
                      <a:pt x="1940" y="34795"/>
                    </a:cubicBezTo>
                    <a:cubicBezTo>
                      <a:pt x="-53" y="63172"/>
                      <a:pt x="-512" y="91639"/>
                      <a:pt x="570" y="120071"/>
                    </a:cubicBezTo>
                    <a:cubicBezTo>
                      <a:pt x="10022" y="364664"/>
                      <a:pt x="140162" y="582956"/>
                      <a:pt x="347015" y="72816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59" name="Google Shape;437;p25">
              <a:extLst>
                <a:ext uri="{FF2B5EF4-FFF2-40B4-BE49-F238E27FC236}">
                  <a16:creationId xmlns:a16="http://schemas.microsoft.com/office/drawing/2014/main" id="{A7AC0CF8-1245-41E6-9E58-659A758CDB86}"/>
                </a:ext>
              </a:extLst>
            </p:cNvPr>
            <p:cNvGrpSpPr/>
            <p:nvPr/>
          </p:nvGrpSpPr>
          <p:grpSpPr>
            <a:xfrm>
              <a:off x="4067614" y="2580705"/>
              <a:ext cx="1008772" cy="783347"/>
              <a:chOff x="2860826" y="401530"/>
              <a:chExt cx="2115269" cy="1642581"/>
            </a:xfrm>
          </p:grpSpPr>
          <p:sp>
            <p:nvSpPr>
              <p:cNvPr id="86" name="Google Shape;438;p25">
                <a:extLst>
                  <a:ext uri="{FF2B5EF4-FFF2-40B4-BE49-F238E27FC236}">
                    <a16:creationId xmlns:a16="http://schemas.microsoft.com/office/drawing/2014/main" id="{5B119C4F-48B6-4CA7-9695-3A6EE060C0F6}"/>
                  </a:ext>
                </a:extLst>
              </p:cNvPr>
              <p:cNvSpPr/>
              <p:nvPr/>
            </p:nvSpPr>
            <p:spPr>
              <a:xfrm>
                <a:off x="2860826" y="401530"/>
                <a:ext cx="2115269" cy="1642581"/>
              </a:xfrm>
              <a:custGeom>
                <a:avLst/>
                <a:gdLst/>
                <a:ahLst/>
                <a:cxnLst/>
                <a:rect l="l" t="t" r="r" b="b"/>
                <a:pathLst>
                  <a:path w="2115269" h="1642581" extrusionOk="0">
                    <a:moveTo>
                      <a:pt x="245052" y="1642582"/>
                    </a:moveTo>
                    <a:cubicBezTo>
                      <a:pt x="509714" y="1619636"/>
                      <a:pt x="782253" y="1607649"/>
                      <a:pt x="1060477" y="1607649"/>
                    </a:cubicBezTo>
                    <a:cubicBezTo>
                      <a:pt x="1331715" y="1607649"/>
                      <a:pt x="1597541" y="1619088"/>
                      <a:pt x="1855902" y="1640869"/>
                    </a:cubicBezTo>
                    <a:cubicBezTo>
                      <a:pt x="1868690" y="1627170"/>
                      <a:pt x="1881060" y="1612992"/>
                      <a:pt x="1893026" y="1598334"/>
                    </a:cubicBezTo>
                    <a:cubicBezTo>
                      <a:pt x="1980028" y="1493928"/>
                      <a:pt x="2044145" y="1372426"/>
                      <a:pt x="2081249" y="1241684"/>
                    </a:cubicBezTo>
                    <a:cubicBezTo>
                      <a:pt x="2119756" y="1105894"/>
                      <a:pt x="2125668" y="962926"/>
                      <a:pt x="2098509" y="824416"/>
                    </a:cubicBezTo>
                    <a:cubicBezTo>
                      <a:pt x="2049057" y="569754"/>
                      <a:pt x="1935630" y="368312"/>
                      <a:pt x="1761449" y="225501"/>
                    </a:cubicBezTo>
                    <a:cubicBezTo>
                      <a:pt x="1578980" y="75910"/>
                      <a:pt x="1339797" y="18"/>
                      <a:pt x="1050682" y="18"/>
                    </a:cubicBezTo>
                    <a:cubicBezTo>
                      <a:pt x="903988" y="-836"/>
                      <a:pt x="758732" y="28980"/>
                      <a:pt x="624236" y="87554"/>
                    </a:cubicBezTo>
                    <a:cubicBezTo>
                      <a:pt x="501508" y="141599"/>
                      <a:pt x="390609" y="219263"/>
                      <a:pt x="297861" y="316119"/>
                    </a:cubicBezTo>
                    <a:cubicBezTo>
                      <a:pt x="101419" y="520575"/>
                      <a:pt x="-9679" y="802772"/>
                      <a:pt x="663" y="1071749"/>
                    </a:cubicBezTo>
                    <a:cubicBezTo>
                      <a:pt x="9088" y="1284356"/>
                      <a:pt x="94775" y="1483332"/>
                      <a:pt x="245052" y="1642582"/>
                    </a:cubicBezTo>
                    <a:close/>
                  </a:path>
                </a:pathLst>
              </a:custGeom>
              <a:solidFill>
                <a:srgbClr val="09052E">
                  <a:alpha val="1173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" name="Google Shape;439;p25">
                <a:extLst>
                  <a:ext uri="{FF2B5EF4-FFF2-40B4-BE49-F238E27FC236}">
                    <a16:creationId xmlns:a16="http://schemas.microsoft.com/office/drawing/2014/main" id="{CE772840-EF92-4181-8645-5B428DB8DE7F}"/>
                  </a:ext>
                </a:extLst>
              </p:cNvPr>
              <p:cNvSpPr/>
              <p:nvPr/>
            </p:nvSpPr>
            <p:spPr>
              <a:xfrm>
                <a:off x="2983792" y="475316"/>
                <a:ext cx="1869056" cy="1552082"/>
              </a:xfrm>
              <a:custGeom>
                <a:avLst/>
                <a:gdLst/>
                <a:ahLst/>
                <a:cxnLst/>
                <a:rect l="l" t="t" r="r" b="b"/>
                <a:pathLst>
                  <a:path w="1869056" h="1552082" extrusionOk="0">
                    <a:moveTo>
                      <a:pt x="347020" y="1552083"/>
                    </a:moveTo>
                    <a:cubicBezTo>
                      <a:pt x="540360" y="1540028"/>
                      <a:pt x="737185" y="1533952"/>
                      <a:pt x="937510" y="1533863"/>
                    </a:cubicBezTo>
                    <a:cubicBezTo>
                      <a:pt x="1132446" y="1533863"/>
                      <a:pt x="1324230" y="1539637"/>
                      <a:pt x="1512863" y="1551192"/>
                    </a:cubicBezTo>
                    <a:cubicBezTo>
                      <a:pt x="1766292" y="1362285"/>
                      <a:pt x="1918076" y="1051183"/>
                      <a:pt x="1854650" y="724876"/>
                    </a:cubicBezTo>
                    <a:cubicBezTo>
                      <a:pt x="1769717" y="285279"/>
                      <a:pt x="1464506" y="0"/>
                      <a:pt x="927716" y="0"/>
                    </a:cubicBezTo>
                    <a:cubicBezTo>
                      <a:pt x="337774" y="0"/>
                      <a:pt x="-16274" y="505694"/>
                      <a:pt x="576" y="943990"/>
                    </a:cubicBezTo>
                    <a:cubicBezTo>
                      <a:pt x="10028" y="1188583"/>
                      <a:pt x="140167" y="1406875"/>
                      <a:pt x="347020" y="155208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" name="Google Shape;440;p25">
                <a:extLst>
                  <a:ext uri="{FF2B5EF4-FFF2-40B4-BE49-F238E27FC236}">
                    <a16:creationId xmlns:a16="http://schemas.microsoft.com/office/drawing/2014/main" id="{0B063AEB-927D-4703-82E3-176C2DF3A684}"/>
                  </a:ext>
                </a:extLst>
              </p:cNvPr>
              <p:cNvSpPr/>
              <p:nvPr/>
            </p:nvSpPr>
            <p:spPr>
              <a:xfrm>
                <a:off x="3539074" y="677245"/>
                <a:ext cx="758060" cy="758156"/>
              </a:xfrm>
              <a:custGeom>
                <a:avLst/>
                <a:gdLst/>
                <a:ahLst/>
                <a:cxnLst/>
                <a:rect l="l" t="t" r="r" b="b"/>
                <a:pathLst>
                  <a:path w="758060" h="758156" extrusionOk="0">
                    <a:moveTo>
                      <a:pt x="724496" y="223151"/>
                    </a:moveTo>
                    <a:cubicBezTo>
                      <a:pt x="687310" y="294289"/>
                      <a:pt x="599493" y="321817"/>
                      <a:pt x="528355" y="284631"/>
                    </a:cubicBezTo>
                    <a:cubicBezTo>
                      <a:pt x="457217" y="247446"/>
                      <a:pt x="429689" y="159629"/>
                      <a:pt x="466875" y="88491"/>
                    </a:cubicBezTo>
                    <a:cubicBezTo>
                      <a:pt x="479923" y="63532"/>
                      <a:pt x="499937" y="42901"/>
                      <a:pt x="524492" y="29106"/>
                    </a:cubicBezTo>
                    <a:cubicBezTo>
                      <a:pt x="331208" y="-51203"/>
                      <a:pt x="109416" y="40382"/>
                      <a:pt x="29107" y="233665"/>
                    </a:cubicBezTo>
                    <a:cubicBezTo>
                      <a:pt x="-51203" y="426949"/>
                      <a:pt x="40381" y="648740"/>
                      <a:pt x="233665" y="729050"/>
                    </a:cubicBezTo>
                    <a:cubicBezTo>
                      <a:pt x="426949" y="809360"/>
                      <a:pt x="648741" y="717776"/>
                      <a:pt x="729051" y="524492"/>
                    </a:cubicBezTo>
                    <a:cubicBezTo>
                      <a:pt x="769257" y="427730"/>
                      <a:pt x="767606" y="318645"/>
                      <a:pt x="724496" y="223151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5"/>
                  </a:gs>
                  <a:gs pos="100000">
                    <a:schemeClr val="accent6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" name="Google Shape;441;p25">
                <a:extLst>
                  <a:ext uri="{FF2B5EF4-FFF2-40B4-BE49-F238E27FC236}">
                    <a16:creationId xmlns:a16="http://schemas.microsoft.com/office/drawing/2014/main" id="{1F601E11-E295-4F81-A060-470F2EA80966}"/>
                  </a:ext>
                </a:extLst>
              </p:cNvPr>
              <p:cNvSpPr/>
              <p:nvPr/>
            </p:nvSpPr>
            <p:spPr>
              <a:xfrm>
                <a:off x="3712949" y="849942"/>
                <a:ext cx="411706" cy="411763"/>
              </a:xfrm>
              <a:custGeom>
                <a:avLst/>
                <a:gdLst/>
                <a:ahLst/>
                <a:cxnLst/>
                <a:rect l="l" t="t" r="r" b="b"/>
                <a:pathLst>
                  <a:path w="411706" h="411763" extrusionOk="0">
                    <a:moveTo>
                      <a:pt x="279862" y="13810"/>
                    </a:moveTo>
                    <a:cubicBezTo>
                      <a:pt x="173784" y="-27047"/>
                      <a:pt x="54666" y="25824"/>
                      <a:pt x="13809" y="131901"/>
                    </a:cubicBezTo>
                    <a:cubicBezTo>
                      <a:pt x="-27048" y="237978"/>
                      <a:pt x="25830" y="357097"/>
                      <a:pt x="131907" y="397954"/>
                    </a:cubicBezTo>
                    <a:cubicBezTo>
                      <a:pt x="237984" y="438811"/>
                      <a:pt x="357096" y="385940"/>
                      <a:pt x="397953" y="279863"/>
                    </a:cubicBezTo>
                    <a:cubicBezTo>
                      <a:pt x="417090" y="230170"/>
                      <a:pt x="416227" y="174998"/>
                      <a:pt x="395549" y="125935"/>
                    </a:cubicBezTo>
                    <a:cubicBezTo>
                      <a:pt x="337897" y="115325"/>
                      <a:pt x="292273" y="71105"/>
                      <a:pt x="279862" y="1381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" name="Google Shape;442;p25">
                <a:extLst>
                  <a:ext uri="{FF2B5EF4-FFF2-40B4-BE49-F238E27FC236}">
                    <a16:creationId xmlns:a16="http://schemas.microsoft.com/office/drawing/2014/main" id="{D2DCFAD5-0A37-4525-8054-8125586DE8CF}"/>
                  </a:ext>
                </a:extLst>
              </p:cNvPr>
              <p:cNvSpPr/>
              <p:nvPr/>
            </p:nvSpPr>
            <p:spPr>
              <a:xfrm>
                <a:off x="2983798" y="1299235"/>
                <a:ext cx="1868927" cy="728163"/>
              </a:xfrm>
              <a:custGeom>
                <a:avLst/>
                <a:gdLst/>
                <a:ahLst/>
                <a:cxnLst/>
                <a:rect l="l" t="t" r="r" b="b"/>
                <a:pathLst>
                  <a:path w="1868927" h="728163" extrusionOk="0">
                    <a:moveTo>
                      <a:pt x="347015" y="728164"/>
                    </a:moveTo>
                    <a:cubicBezTo>
                      <a:pt x="540354" y="716109"/>
                      <a:pt x="737179" y="710033"/>
                      <a:pt x="937505" y="709944"/>
                    </a:cubicBezTo>
                    <a:cubicBezTo>
                      <a:pt x="1132440" y="709944"/>
                      <a:pt x="1324224" y="715718"/>
                      <a:pt x="1512858" y="727273"/>
                    </a:cubicBezTo>
                    <a:cubicBezTo>
                      <a:pt x="1740396" y="557613"/>
                      <a:pt x="1886015" y="289457"/>
                      <a:pt x="1867316" y="0"/>
                    </a:cubicBezTo>
                    <a:cubicBezTo>
                      <a:pt x="1727793" y="347404"/>
                      <a:pt x="1367307" y="603915"/>
                      <a:pt x="963190" y="603915"/>
                    </a:cubicBezTo>
                    <a:cubicBezTo>
                      <a:pt x="507292" y="603915"/>
                      <a:pt x="141943" y="366308"/>
                      <a:pt x="1940" y="34795"/>
                    </a:cubicBezTo>
                    <a:cubicBezTo>
                      <a:pt x="-53" y="63172"/>
                      <a:pt x="-512" y="91639"/>
                      <a:pt x="570" y="120071"/>
                    </a:cubicBezTo>
                    <a:cubicBezTo>
                      <a:pt x="10022" y="364664"/>
                      <a:pt x="140162" y="582956"/>
                      <a:pt x="347015" y="72816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60" name="Google Shape;443;p25">
              <a:extLst>
                <a:ext uri="{FF2B5EF4-FFF2-40B4-BE49-F238E27FC236}">
                  <a16:creationId xmlns:a16="http://schemas.microsoft.com/office/drawing/2014/main" id="{E2DB2061-6827-4BC0-8E07-EFD1DC5F7155}"/>
                </a:ext>
              </a:extLst>
            </p:cNvPr>
            <p:cNvGrpSpPr/>
            <p:nvPr/>
          </p:nvGrpSpPr>
          <p:grpSpPr>
            <a:xfrm>
              <a:off x="5061853" y="2733105"/>
              <a:ext cx="1008772" cy="783347"/>
              <a:chOff x="2860826" y="401530"/>
              <a:chExt cx="2115269" cy="1642581"/>
            </a:xfrm>
          </p:grpSpPr>
          <p:sp>
            <p:nvSpPr>
              <p:cNvPr id="81" name="Google Shape;444;p25">
                <a:extLst>
                  <a:ext uri="{FF2B5EF4-FFF2-40B4-BE49-F238E27FC236}">
                    <a16:creationId xmlns:a16="http://schemas.microsoft.com/office/drawing/2014/main" id="{B37725DE-0F62-40C0-92E7-8CA0EC986E19}"/>
                  </a:ext>
                </a:extLst>
              </p:cNvPr>
              <p:cNvSpPr/>
              <p:nvPr/>
            </p:nvSpPr>
            <p:spPr>
              <a:xfrm>
                <a:off x="2860826" y="401530"/>
                <a:ext cx="2115269" cy="1642581"/>
              </a:xfrm>
              <a:custGeom>
                <a:avLst/>
                <a:gdLst/>
                <a:ahLst/>
                <a:cxnLst/>
                <a:rect l="l" t="t" r="r" b="b"/>
                <a:pathLst>
                  <a:path w="2115269" h="1642581" extrusionOk="0">
                    <a:moveTo>
                      <a:pt x="245052" y="1642582"/>
                    </a:moveTo>
                    <a:cubicBezTo>
                      <a:pt x="509714" y="1619636"/>
                      <a:pt x="782253" y="1607649"/>
                      <a:pt x="1060477" y="1607649"/>
                    </a:cubicBezTo>
                    <a:cubicBezTo>
                      <a:pt x="1331715" y="1607649"/>
                      <a:pt x="1597541" y="1619088"/>
                      <a:pt x="1855902" y="1640869"/>
                    </a:cubicBezTo>
                    <a:cubicBezTo>
                      <a:pt x="1868690" y="1627170"/>
                      <a:pt x="1881060" y="1612992"/>
                      <a:pt x="1893026" y="1598334"/>
                    </a:cubicBezTo>
                    <a:cubicBezTo>
                      <a:pt x="1980028" y="1493928"/>
                      <a:pt x="2044145" y="1372426"/>
                      <a:pt x="2081249" y="1241684"/>
                    </a:cubicBezTo>
                    <a:cubicBezTo>
                      <a:pt x="2119756" y="1105894"/>
                      <a:pt x="2125668" y="962926"/>
                      <a:pt x="2098509" y="824416"/>
                    </a:cubicBezTo>
                    <a:cubicBezTo>
                      <a:pt x="2049057" y="569754"/>
                      <a:pt x="1935630" y="368312"/>
                      <a:pt x="1761449" y="225501"/>
                    </a:cubicBezTo>
                    <a:cubicBezTo>
                      <a:pt x="1578980" y="75910"/>
                      <a:pt x="1339797" y="18"/>
                      <a:pt x="1050682" y="18"/>
                    </a:cubicBezTo>
                    <a:cubicBezTo>
                      <a:pt x="903988" y="-836"/>
                      <a:pt x="758732" y="28980"/>
                      <a:pt x="624236" y="87554"/>
                    </a:cubicBezTo>
                    <a:cubicBezTo>
                      <a:pt x="501508" y="141599"/>
                      <a:pt x="390609" y="219263"/>
                      <a:pt x="297861" y="316119"/>
                    </a:cubicBezTo>
                    <a:cubicBezTo>
                      <a:pt x="101419" y="520575"/>
                      <a:pt x="-9679" y="802772"/>
                      <a:pt x="663" y="1071749"/>
                    </a:cubicBezTo>
                    <a:cubicBezTo>
                      <a:pt x="9088" y="1284356"/>
                      <a:pt x="94775" y="1483332"/>
                      <a:pt x="245052" y="1642582"/>
                    </a:cubicBezTo>
                    <a:close/>
                  </a:path>
                </a:pathLst>
              </a:custGeom>
              <a:solidFill>
                <a:srgbClr val="09052E">
                  <a:alpha val="1173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" name="Google Shape;445;p25">
                <a:extLst>
                  <a:ext uri="{FF2B5EF4-FFF2-40B4-BE49-F238E27FC236}">
                    <a16:creationId xmlns:a16="http://schemas.microsoft.com/office/drawing/2014/main" id="{0A45607E-4340-4E1C-BCB6-3EA7AF848D99}"/>
                  </a:ext>
                </a:extLst>
              </p:cNvPr>
              <p:cNvSpPr/>
              <p:nvPr/>
            </p:nvSpPr>
            <p:spPr>
              <a:xfrm>
                <a:off x="2983792" y="475316"/>
                <a:ext cx="1869056" cy="1552082"/>
              </a:xfrm>
              <a:custGeom>
                <a:avLst/>
                <a:gdLst/>
                <a:ahLst/>
                <a:cxnLst/>
                <a:rect l="l" t="t" r="r" b="b"/>
                <a:pathLst>
                  <a:path w="1869056" h="1552082" extrusionOk="0">
                    <a:moveTo>
                      <a:pt x="347020" y="1552083"/>
                    </a:moveTo>
                    <a:cubicBezTo>
                      <a:pt x="540360" y="1540028"/>
                      <a:pt x="737185" y="1533952"/>
                      <a:pt x="937510" y="1533863"/>
                    </a:cubicBezTo>
                    <a:cubicBezTo>
                      <a:pt x="1132446" y="1533863"/>
                      <a:pt x="1324230" y="1539637"/>
                      <a:pt x="1512863" y="1551192"/>
                    </a:cubicBezTo>
                    <a:cubicBezTo>
                      <a:pt x="1766292" y="1362285"/>
                      <a:pt x="1918076" y="1051183"/>
                      <a:pt x="1854650" y="724876"/>
                    </a:cubicBezTo>
                    <a:cubicBezTo>
                      <a:pt x="1769717" y="285279"/>
                      <a:pt x="1464506" y="0"/>
                      <a:pt x="927716" y="0"/>
                    </a:cubicBezTo>
                    <a:cubicBezTo>
                      <a:pt x="337774" y="0"/>
                      <a:pt x="-16274" y="505694"/>
                      <a:pt x="576" y="943990"/>
                    </a:cubicBezTo>
                    <a:cubicBezTo>
                      <a:pt x="10028" y="1188583"/>
                      <a:pt x="140167" y="1406875"/>
                      <a:pt x="347020" y="1552083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" name="Google Shape;446;p25">
                <a:extLst>
                  <a:ext uri="{FF2B5EF4-FFF2-40B4-BE49-F238E27FC236}">
                    <a16:creationId xmlns:a16="http://schemas.microsoft.com/office/drawing/2014/main" id="{43D5F92A-8396-4CE2-ABDF-A628169657A3}"/>
                  </a:ext>
                </a:extLst>
              </p:cNvPr>
              <p:cNvSpPr/>
              <p:nvPr/>
            </p:nvSpPr>
            <p:spPr>
              <a:xfrm>
                <a:off x="3539074" y="677245"/>
                <a:ext cx="758060" cy="758156"/>
              </a:xfrm>
              <a:custGeom>
                <a:avLst/>
                <a:gdLst/>
                <a:ahLst/>
                <a:cxnLst/>
                <a:rect l="l" t="t" r="r" b="b"/>
                <a:pathLst>
                  <a:path w="758060" h="758156" extrusionOk="0">
                    <a:moveTo>
                      <a:pt x="724496" y="223151"/>
                    </a:moveTo>
                    <a:cubicBezTo>
                      <a:pt x="687310" y="294289"/>
                      <a:pt x="599493" y="321817"/>
                      <a:pt x="528355" y="284631"/>
                    </a:cubicBezTo>
                    <a:cubicBezTo>
                      <a:pt x="457217" y="247446"/>
                      <a:pt x="429689" y="159629"/>
                      <a:pt x="466875" y="88491"/>
                    </a:cubicBezTo>
                    <a:cubicBezTo>
                      <a:pt x="479923" y="63532"/>
                      <a:pt x="499937" y="42901"/>
                      <a:pt x="524492" y="29106"/>
                    </a:cubicBezTo>
                    <a:cubicBezTo>
                      <a:pt x="331208" y="-51203"/>
                      <a:pt x="109416" y="40382"/>
                      <a:pt x="29107" y="233665"/>
                    </a:cubicBezTo>
                    <a:cubicBezTo>
                      <a:pt x="-51203" y="426949"/>
                      <a:pt x="40381" y="648740"/>
                      <a:pt x="233665" y="729050"/>
                    </a:cubicBezTo>
                    <a:cubicBezTo>
                      <a:pt x="426949" y="809360"/>
                      <a:pt x="648741" y="717776"/>
                      <a:pt x="729051" y="524492"/>
                    </a:cubicBezTo>
                    <a:cubicBezTo>
                      <a:pt x="769257" y="427730"/>
                      <a:pt x="767606" y="318645"/>
                      <a:pt x="724496" y="223151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5"/>
                  </a:gs>
                  <a:gs pos="100000">
                    <a:schemeClr val="accent6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" name="Google Shape;447;p25">
                <a:extLst>
                  <a:ext uri="{FF2B5EF4-FFF2-40B4-BE49-F238E27FC236}">
                    <a16:creationId xmlns:a16="http://schemas.microsoft.com/office/drawing/2014/main" id="{CCB9B479-CD7D-4610-89F8-061EB1865CCB}"/>
                  </a:ext>
                </a:extLst>
              </p:cNvPr>
              <p:cNvSpPr/>
              <p:nvPr/>
            </p:nvSpPr>
            <p:spPr>
              <a:xfrm>
                <a:off x="3712949" y="849942"/>
                <a:ext cx="411706" cy="411763"/>
              </a:xfrm>
              <a:custGeom>
                <a:avLst/>
                <a:gdLst/>
                <a:ahLst/>
                <a:cxnLst/>
                <a:rect l="l" t="t" r="r" b="b"/>
                <a:pathLst>
                  <a:path w="411706" h="411763" extrusionOk="0">
                    <a:moveTo>
                      <a:pt x="279862" y="13810"/>
                    </a:moveTo>
                    <a:cubicBezTo>
                      <a:pt x="173784" y="-27047"/>
                      <a:pt x="54666" y="25824"/>
                      <a:pt x="13809" y="131901"/>
                    </a:cubicBezTo>
                    <a:cubicBezTo>
                      <a:pt x="-27048" y="237978"/>
                      <a:pt x="25830" y="357097"/>
                      <a:pt x="131907" y="397954"/>
                    </a:cubicBezTo>
                    <a:cubicBezTo>
                      <a:pt x="237984" y="438811"/>
                      <a:pt x="357096" y="385940"/>
                      <a:pt x="397953" y="279863"/>
                    </a:cubicBezTo>
                    <a:cubicBezTo>
                      <a:pt x="417090" y="230170"/>
                      <a:pt x="416227" y="174998"/>
                      <a:pt x="395549" y="125935"/>
                    </a:cubicBezTo>
                    <a:cubicBezTo>
                      <a:pt x="337897" y="115325"/>
                      <a:pt x="292273" y="71105"/>
                      <a:pt x="279862" y="1381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" name="Google Shape;448;p25">
                <a:extLst>
                  <a:ext uri="{FF2B5EF4-FFF2-40B4-BE49-F238E27FC236}">
                    <a16:creationId xmlns:a16="http://schemas.microsoft.com/office/drawing/2014/main" id="{C0142C9D-5312-4662-9BAC-EC0A123CC774}"/>
                  </a:ext>
                </a:extLst>
              </p:cNvPr>
              <p:cNvSpPr/>
              <p:nvPr/>
            </p:nvSpPr>
            <p:spPr>
              <a:xfrm>
                <a:off x="2983798" y="1299235"/>
                <a:ext cx="1868927" cy="728163"/>
              </a:xfrm>
              <a:custGeom>
                <a:avLst/>
                <a:gdLst/>
                <a:ahLst/>
                <a:cxnLst/>
                <a:rect l="l" t="t" r="r" b="b"/>
                <a:pathLst>
                  <a:path w="1868927" h="728163" extrusionOk="0">
                    <a:moveTo>
                      <a:pt x="347015" y="728164"/>
                    </a:moveTo>
                    <a:cubicBezTo>
                      <a:pt x="540354" y="716109"/>
                      <a:pt x="737179" y="710033"/>
                      <a:pt x="937505" y="709944"/>
                    </a:cubicBezTo>
                    <a:cubicBezTo>
                      <a:pt x="1132440" y="709944"/>
                      <a:pt x="1324224" y="715718"/>
                      <a:pt x="1512858" y="727273"/>
                    </a:cubicBezTo>
                    <a:cubicBezTo>
                      <a:pt x="1740396" y="557613"/>
                      <a:pt x="1886015" y="289457"/>
                      <a:pt x="1867316" y="0"/>
                    </a:cubicBezTo>
                    <a:cubicBezTo>
                      <a:pt x="1727793" y="347404"/>
                      <a:pt x="1367307" y="603915"/>
                      <a:pt x="963190" y="603915"/>
                    </a:cubicBezTo>
                    <a:cubicBezTo>
                      <a:pt x="507292" y="603915"/>
                      <a:pt x="141943" y="366308"/>
                      <a:pt x="1940" y="34795"/>
                    </a:cubicBezTo>
                    <a:cubicBezTo>
                      <a:pt x="-53" y="63172"/>
                      <a:pt x="-512" y="91639"/>
                      <a:pt x="570" y="120071"/>
                    </a:cubicBezTo>
                    <a:cubicBezTo>
                      <a:pt x="10022" y="364664"/>
                      <a:pt x="140162" y="582956"/>
                      <a:pt x="347015" y="72816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61" name="Google Shape;449;p25">
              <a:extLst>
                <a:ext uri="{FF2B5EF4-FFF2-40B4-BE49-F238E27FC236}">
                  <a16:creationId xmlns:a16="http://schemas.microsoft.com/office/drawing/2014/main" id="{D8EB1C9F-61C5-4B23-A9C7-A3B968992B15}"/>
                </a:ext>
              </a:extLst>
            </p:cNvPr>
            <p:cNvGrpSpPr/>
            <p:nvPr/>
          </p:nvGrpSpPr>
          <p:grpSpPr>
            <a:xfrm>
              <a:off x="6310201" y="2609645"/>
              <a:ext cx="361673" cy="570065"/>
              <a:chOff x="1620532" y="2740711"/>
              <a:chExt cx="745257" cy="1174666"/>
            </a:xfrm>
          </p:grpSpPr>
          <p:sp>
            <p:nvSpPr>
              <p:cNvPr id="72" name="Google Shape;450;p25">
                <a:extLst>
                  <a:ext uri="{FF2B5EF4-FFF2-40B4-BE49-F238E27FC236}">
                    <a16:creationId xmlns:a16="http://schemas.microsoft.com/office/drawing/2014/main" id="{2E7889B9-67D5-4958-81F9-3494D22CD05C}"/>
                  </a:ext>
                </a:extLst>
              </p:cNvPr>
              <p:cNvSpPr/>
              <p:nvPr/>
            </p:nvSpPr>
            <p:spPr>
              <a:xfrm>
                <a:off x="1620532" y="2740711"/>
                <a:ext cx="745257" cy="1174666"/>
              </a:xfrm>
              <a:custGeom>
                <a:avLst/>
                <a:gdLst/>
                <a:ahLst/>
                <a:cxnLst/>
                <a:rect l="l" t="t" r="r" b="b"/>
                <a:pathLst>
                  <a:path w="745257" h="1174666" extrusionOk="0">
                    <a:moveTo>
                      <a:pt x="105526" y="385886"/>
                    </a:moveTo>
                    <a:cubicBezTo>
                      <a:pt x="105526" y="385886"/>
                      <a:pt x="389709" y="456640"/>
                      <a:pt x="547452" y="114511"/>
                    </a:cubicBezTo>
                    <a:cubicBezTo>
                      <a:pt x="625124" y="-53848"/>
                      <a:pt x="678481" y="-1313"/>
                      <a:pt x="704989" y="51359"/>
                    </a:cubicBezTo>
                    <a:cubicBezTo>
                      <a:pt x="763894" y="169032"/>
                      <a:pt x="825744" y="770550"/>
                      <a:pt x="360393" y="1174667"/>
                    </a:cubicBezTo>
                    <a:cubicBezTo>
                      <a:pt x="360257" y="1174598"/>
                      <a:pt x="-235850" y="1027952"/>
                      <a:pt x="105526" y="385886"/>
                    </a:cubicBezTo>
                    <a:close/>
                  </a:path>
                </a:pathLst>
              </a:custGeom>
              <a:solidFill>
                <a:srgbClr val="F8F1E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" name="Google Shape;451;p25">
                <a:extLst>
                  <a:ext uri="{FF2B5EF4-FFF2-40B4-BE49-F238E27FC236}">
                    <a16:creationId xmlns:a16="http://schemas.microsoft.com/office/drawing/2014/main" id="{35A731F1-42B8-4630-9283-2C06B31A851D}"/>
                  </a:ext>
                </a:extLst>
              </p:cNvPr>
              <p:cNvSpPr/>
              <p:nvPr/>
            </p:nvSpPr>
            <p:spPr>
              <a:xfrm>
                <a:off x="1763362" y="3112760"/>
                <a:ext cx="446402" cy="667683"/>
              </a:xfrm>
              <a:custGeom>
                <a:avLst/>
                <a:gdLst/>
                <a:ahLst/>
                <a:cxnLst/>
                <a:rect l="l" t="t" r="r" b="b"/>
                <a:pathLst>
                  <a:path w="446402" h="667683" extrusionOk="0">
                    <a:moveTo>
                      <a:pt x="446403" y="526996"/>
                    </a:moveTo>
                    <a:cubicBezTo>
                      <a:pt x="278523" y="500214"/>
                      <a:pt x="48382" y="393843"/>
                      <a:pt x="145028" y="0"/>
                    </a:cubicBezTo>
                    <a:cubicBezTo>
                      <a:pt x="115342" y="10103"/>
                      <a:pt x="84506" y="16432"/>
                      <a:pt x="53245" y="18836"/>
                    </a:cubicBezTo>
                    <a:cubicBezTo>
                      <a:pt x="-14085" y="183222"/>
                      <a:pt x="-95456" y="533023"/>
                      <a:pt x="348456" y="667683"/>
                    </a:cubicBezTo>
                    <a:cubicBezTo>
                      <a:pt x="384785" y="623463"/>
                      <a:pt x="417539" y="576414"/>
                      <a:pt x="446403" y="526996"/>
                    </a:cubicBezTo>
                    <a:close/>
                  </a:path>
                </a:pathLst>
              </a:custGeom>
              <a:solidFill>
                <a:srgbClr val="F0E0C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" name="Google Shape;452;p25">
                <a:extLst>
                  <a:ext uri="{FF2B5EF4-FFF2-40B4-BE49-F238E27FC236}">
                    <a16:creationId xmlns:a16="http://schemas.microsoft.com/office/drawing/2014/main" id="{535C9DED-77A3-45C0-8813-F67B313FA7F6}"/>
                  </a:ext>
                </a:extLst>
              </p:cNvPr>
              <p:cNvSpPr/>
              <p:nvPr/>
            </p:nvSpPr>
            <p:spPr>
              <a:xfrm>
                <a:off x="1980517" y="3061527"/>
                <a:ext cx="341579" cy="420075"/>
              </a:xfrm>
              <a:custGeom>
                <a:avLst/>
                <a:gdLst/>
                <a:ahLst/>
                <a:cxnLst/>
                <a:rect l="l" t="t" r="r" b="b"/>
                <a:pathLst>
                  <a:path w="341579" h="420075" extrusionOk="0">
                    <a:moveTo>
                      <a:pt x="26848" y="0"/>
                    </a:moveTo>
                    <a:cubicBezTo>
                      <a:pt x="18170" y="6301"/>
                      <a:pt x="9430" y="12103"/>
                      <a:pt x="614" y="17398"/>
                    </a:cubicBezTo>
                    <a:cubicBezTo>
                      <a:pt x="-5002" y="131783"/>
                      <a:pt x="22670" y="353020"/>
                      <a:pt x="305346" y="420076"/>
                    </a:cubicBezTo>
                    <a:cubicBezTo>
                      <a:pt x="319593" y="383294"/>
                      <a:pt x="331579" y="346719"/>
                      <a:pt x="341579" y="310485"/>
                    </a:cubicBezTo>
                    <a:cubicBezTo>
                      <a:pt x="258016" y="305280"/>
                      <a:pt x="119795" y="254114"/>
                      <a:pt x="26848" y="0"/>
                    </a:cubicBezTo>
                    <a:close/>
                  </a:path>
                </a:pathLst>
              </a:custGeom>
              <a:solidFill>
                <a:srgbClr val="F0E0C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453;p25">
                <a:extLst>
                  <a:ext uri="{FF2B5EF4-FFF2-40B4-BE49-F238E27FC236}">
                    <a16:creationId xmlns:a16="http://schemas.microsoft.com/office/drawing/2014/main" id="{B080C70A-1AEC-496E-9243-8F34AA21828A}"/>
                  </a:ext>
                </a:extLst>
              </p:cNvPr>
              <p:cNvSpPr/>
              <p:nvPr/>
            </p:nvSpPr>
            <p:spPr>
              <a:xfrm>
                <a:off x="2085517" y="2976457"/>
                <a:ext cx="278498" cy="208133"/>
              </a:xfrm>
              <a:custGeom>
                <a:avLst/>
                <a:gdLst/>
                <a:ahLst/>
                <a:cxnLst/>
                <a:rect l="l" t="t" r="r" b="b"/>
                <a:pathLst>
                  <a:path w="278498" h="208133" extrusionOk="0">
                    <a:moveTo>
                      <a:pt x="9521" y="0"/>
                    </a:moveTo>
                    <a:cubicBezTo>
                      <a:pt x="6370" y="4041"/>
                      <a:pt x="3219" y="7877"/>
                      <a:pt x="0" y="11713"/>
                    </a:cubicBezTo>
                    <a:cubicBezTo>
                      <a:pt x="34795" y="89522"/>
                      <a:pt x="117468" y="221785"/>
                      <a:pt x="272744" y="206990"/>
                    </a:cubicBezTo>
                    <a:cubicBezTo>
                      <a:pt x="275416" y="182812"/>
                      <a:pt x="277334" y="159044"/>
                      <a:pt x="278498" y="136441"/>
                    </a:cubicBezTo>
                    <a:cubicBezTo>
                      <a:pt x="201168" y="146578"/>
                      <a:pt x="103906" y="122947"/>
                      <a:pt x="9521" y="0"/>
                    </a:cubicBezTo>
                    <a:close/>
                  </a:path>
                </a:pathLst>
              </a:custGeom>
              <a:solidFill>
                <a:srgbClr val="F0E0C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" name="Google Shape;454;p25">
                <a:extLst>
                  <a:ext uri="{FF2B5EF4-FFF2-40B4-BE49-F238E27FC236}">
                    <a16:creationId xmlns:a16="http://schemas.microsoft.com/office/drawing/2014/main" id="{7557EB9A-81D0-4C26-8F11-601DD84BBF5B}"/>
                  </a:ext>
                </a:extLst>
              </p:cNvPr>
              <p:cNvSpPr/>
              <p:nvPr/>
            </p:nvSpPr>
            <p:spPr>
              <a:xfrm>
                <a:off x="1623727" y="2881337"/>
                <a:ext cx="606150" cy="548531"/>
              </a:xfrm>
              <a:custGeom>
                <a:avLst/>
                <a:gdLst/>
                <a:ahLst/>
                <a:cxnLst/>
                <a:rect l="l" t="t" r="r" b="b"/>
                <a:pathLst>
                  <a:path w="606150" h="548531" extrusionOk="0">
                    <a:moveTo>
                      <a:pt x="43768" y="373549"/>
                    </a:moveTo>
                    <a:cubicBezTo>
                      <a:pt x="21822" y="429769"/>
                      <a:pt x="7110" y="488551"/>
                      <a:pt x="0" y="548483"/>
                    </a:cubicBezTo>
                    <a:cubicBezTo>
                      <a:pt x="270142" y="552525"/>
                      <a:pt x="564668" y="299095"/>
                      <a:pt x="602340" y="72447"/>
                    </a:cubicBezTo>
                    <a:cubicBezTo>
                      <a:pt x="620217" y="-35089"/>
                      <a:pt x="570627" y="-3855"/>
                      <a:pt x="548161" y="44433"/>
                    </a:cubicBezTo>
                    <a:cubicBezTo>
                      <a:pt x="413980" y="333343"/>
                      <a:pt x="151099" y="356905"/>
                      <a:pt x="43768" y="373549"/>
                    </a:cubicBezTo>
                    <a:close/>
                  </a:path>
                </a:pathLst>
              </a:custGeom>
              <a:solidFill>
                <a:srgbClr val="FFFFFF">
                  <a:alpha val="5475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62" name="Google Shape;455;p25">
              <a:extLst>
                <a:ext uri="{FF2B5EF4-FFF2-40B4-BE49-F238E27FC236}">
                  <a16:creationId xmlns:a16="http://schemas.microsoft.com/office/drawing/2014/main" id="{DA67C729-07AB-4C5F-97E8-2A4F9E815FCC}"/>
                </a:ext>
              </a:extLst>
            </p:cNvPr>
            <p:cNvGrpSpPr/>
            <p:nvPr/>
          </p:nvGrpSpPr>
          <p:grpSpPr>
            <a:xfrm>
              <a:off x="2472120" y="2609645"/>
              <a:ext cx="361654" cy="570065"/>
              <a:chOff x="188982" y="2740711"/>
              <a:chExt cx="745218" cy="1174666"/>
            </a:xfrm>
          </p:grpSpPr>
          <p:sp>
            <p:nvSpPr>
              <p:cNvPr id="63" name="Google Shape;456;p25">
                <a:extLst>
                  <a:ext uri="{FF2B5EF4-FFF2-40B4-BE49-F238E27FC236}">
                    <a16:creationId xmlns:a16="http://schemas.microsoft.com/office/drawing/2014/main" id="{61373626-CA18-4081-A05B-6F85251CFB0B}"/>
                  </a:ext>
                </a:extLst>
              </p:cNvPr>
              <p:cNvSpPr/>
              <p:nvPr/>
            </p:nvSpPr>
            <p:spPr>
              <a:xfrm>
                <a:off x="188982" y="2740711"/>
                <a:ext cx="745218" cy="1174666"/>
              </a:xfrm>
              <a:custGeom>
                <a:avLst/>
                <a:gdLst/>
                <a:ahLst/>
                <a:cxnLst/>
                <a:rect l="l" t="t" r="r" b="b"/>
                <a:pathLst>
                  <a:path w="745218" h="1174666" extrusionOk="0">
                    <a:moveTo>
                      <a:pt x="639800" y="385886"/>
                    </a:moveTo>
                    <a:cubicBezTo>
                      <a:pt x="639800" y="385886"/>
                      <a:pt x="355617" y="456640"/>
                      <a:pt x="197806" y="114511"/>
                    </a:cubicBezTo>
                    <a:cubicBezTo>
                      <a:pt x="120133" y="-53848"/>
                      <a:pt x="66844" y="-1313"/>
                      <a:pt x="40268" y="51359"/>
                    </a:cubicBezTo>
                    <a:cubicBezTo>
                      <a:pt x="-18637" y="169032"/>
                      <a:pt x="-80487" y="770550"/>
                      <a:pt x="384864" y="1174667"/>
                    </a:cubicBezTo>
                    <a:cubicBezTo>
                      <a:pt x="384864" y="1174598"/>
                      <a:pt x="980970" y="1027952"/>
                      <a:pt x="639800" y="385886"/>
                    </a:cubicBezTo>
                    <a:close/>
                  </a:path>
                </a:pathLst>
              </a:custGeom>
              <a:solidFill>
                <a:srgbClr val="F8F1E4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" name="Google Shape;457;p25">
                <a:extLst>
                  <a:ext uri="{FF2B5EF4-FFF2-40B4-BE49-F238E27FC236}">
                    <a16:creationId xmlns:a16="http://schemas.microsoft.com/office/drawing/2014/main" id="{E3E0E46A-9C6F-49A9-93EF-B98AF9CA0776}"/>
                  </a:ext>
                </a:extLst>
              </p:cNvPr>
              <p:cNvSpPr/>
              <p:nvPr/>
            </p:nvSpPr>
            <p:spPr>
              <a:xfrm>
                <a:off x="344800" y="3112760"/>
                <a:ext cx="446368" cy="667683"/>
              </a:xfrm>
              <a:custGeom>
                <a:avLst/>
                <a:gdLst/>
                <a:ahLst/>
                <a:cxnLst/>
                <a:rect l="l" t="t" r="r" b="b"/>
                <a:pathLst>
                  <a:path w="446368" h="667683" extrusionOk="0">
                    <a:moveTo>
                      <a:pt x="0" y="526996"/>
                    </a:moveTo>
                    <a:cubicBezTo>
                      <a:pt x="167948" y="500214"/>
                      <a:pt x="398021" y="393843"/>
                      <a:pt x="301375" y="0"/>
                    </a:cubicBezTo>
                    <a:cubicBezTo>
                      <a:pt x="331033" y="10110"/>
                      <a:pt x="361849" y="16439"/>
                      <a:pt x="393089" y="18836"/>
                    </a:cubicBezTo>
                    <a:cubicBezTo>
                      <a:pt x="460488" y="183222"/>
                      <a:pt x="541791" y="533023"/>
                      <a:pt x="97947" y="667683"/>
                    </a:cubicBezTo>
                    <a:cubicBezTo>
                      <a:pt x="61639" y="623443"/>
                      <a:pt x="28888" y="576401"/>
                      <a:pt x="0" y="526996"/>
                    </a:cubicBezTo>
                    <a:close/>
                  </a:path>
                </a:pathLst>
              </a:custGeom>
              <a:solidFill>
                <a:srgbClr val="F0E0C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" name="Google Shape;458;p25">
                <a:extLst>
                  <a:ext uri="{FF2B5EF4-FFF2-40B4-BE49-F238E27FC236}">
                    <a16:creationId xmlns:a16="http://schemas.microsoft.com/office/drawing/2014/main" id="{590F199D-56CA-4A81-B748-EF37C5ED94E0}"/>
                  </a:ext>
                </a:extLst>
              </p:cNvPr>
              <p:cNvSpPr/>
              <p:nvPr/>
            </p:nvSpPr>
            <p:spPr>
              <a:xfrm>
                <a:off x="232538" y="3061527"/>
                <a:ext cx="341567" cy="420075"/>
              </a:xfrm>
              <a:custGeom>
                <a:avLst/>
                <a:gdLst/>
                <a:ahLst/>
                <a:cxnLst/>
                <a:rect l="l" t="t" r="r" b="b"/>
                <a:pathLst>
                  <a:path w="341567" h="420075" extrusionOk="0">
                    <a:moveTo>
                      <a:pt x="314663" y="0"/>
                    </a:moveTo>
                    <a:cubicBezTo>
                      <a:pt x="323430" y="6301"/>
                      <a:pt x="332198" y="12103"/>
                      <a:pt x="340965" y="17398"/>
                    </a:cubicBezTo>
                    <a:cubicBezTo>
                      <a:pt x="346513" y="131783"/>
                      <a:pt x="318910" y="353020"/>
                      <a:pt x="36234" y="420076"/>
                    </a:cubicBezTo>
                    <a:cubicBezTo>
                      <a:pt x="21987" y="383294"/>
                      <a:pt x="10000" y="346719"/>
                      <a:pt x="0" y="310485"/>
                    </a:cubicBezTo>
                    <a:cubicBezTo>
                      <a:pt x="83495" y="305280"/>
                      <a:pt x="221785" y="254114"/>
                      <a:pt x="314663" y="0"/>
                    </a:cubicBezTo>
                    <a:close/>
                  </a:path>
                </a:pathLst>
              </a:custGeom>
              <a:solidFill>
                <a:srgbClr val="F0E0C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" name="Google Shape;459;p25">
                <a:extLst>
                  <a:ext uri="{FF2B5EF4-FFF2-40B4-BE49-F238E27FC236}">
                    <a16:creationId xmlns:a16="http://schemas.microsoft.com/office/drawing/2014/main" id="{D8C0C602-267B-43E7-958E-94BB2F627767}"/>
                  </a:ext>
                </a:extLst>
              </p:cNvPr>
              <p:cNvSpPr/>
              <p:nvPr/>
            </p:nvSpPr>
            <p:spPr>
              <a:xfrm>
                <a:off x="190551" y="2976457"/>
                <a:ext cx="278498" cy="208133"/>
              </a:xfrm>
              <a:custGeom>
                <a:avLst/>
                <a:gdLst/>
                <a:ahLst/>
                <a:cxnLst/>
                <a:rect l="l" t="t" r="r" b="b"/>
                <a:pathLst>
                  <a:path w="278498" h="208133" extrusionOk="0">
                    <a:moveTo>
                      <a:pt x="268977" y="0"/>
                    </a:moveTo>
                    <a:cubicBezTo>
                      <a:pt x="272128" y="4041"/>
                      <a:pt x="275347" y="7877"/>
                      <a:pt x="278498" y="11713"/>
                    </a:cubicBezTo>
                    <a:cubicBezTo>
                      <a:pt x="243703" y="89522"/>
                      <a:pt x="161099" y="221785"/>
                      <a:pt x="5754" y="206990"/>
                    </a:cubicBezTo>
                    <a:cubicBezTo>
                      <a:pt x="3082" y="182812"/>
                      <a:pt x="1233" y="159044"/>
                      <a:pt x="0" y="136441"/>
                    </a:cubicBezTo>
                    <a:cubicBezTo>
                      <a:pt x="77399" y="146578"/>
                      <a:pt x="174661" y="122947"/>
                      <a:pt x="268977" y="0"/>
                    </a:cubicBezTo>
                    <a:close/>
                  </a:path>
                </a:pathLst>
              </a:custGeom>
              <a:solidFill>
                <a:srgbClr val="F0E0C7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" name="Google Shape;460;p25">
                <a:extLst>
                  <a:ext uri="{FF2B5EF4-FFF2-40B4-BE49-F238E27FC236}">
                    <a16:creationId xmlns:a16="http://schemas.microsoft.com/office/drawing/2014/main" id="{DA294D18-1937-4102-9FA9-486DA27C0BD9}"/>
                  </a:ext>
                </a:extLst>
              </p:cNvPr>
              <p:cNvSpPr/>
              <p:nvPr/>
            </p:nvSpPr>
            <p:spPr>
              <a:xfrm>
                <a:off x="324756" y="2881337"/>
                <a:ext cx="606150" cy="548531"/>
              </a:xfrm>
              <a:custGeom>
                <a:avLst/>
                <a:gdLst/>
                <a:ahLst/>
                <a:cxnLst/>
                <a:rect l="l" t="t" r="r" b="b"/>
                <a:pathLst>
                  <a:path w="606150" h="548531" extrusionOk="0">
                    <a:moveTo>
                      <a:pt x="562383" y="373549"/>
                    </a:moveTo>
                    <a:cubicBezTo>
                      <a:pt x="584328" y="429769"/>
                      <a:pt x="599041" y="488551"/>
                      <a:pt x="606151" y="548483"/>
                    </a:cubicBezTo>
                    <a:cubicBezTo>
                      <a:pt x="336009" y="552525"/>
                      <a:pt x="41483" y="299095"/>
                      <a:pt x="3811" y="72447"/>
                    </a:cubicBezTo>
                    <a:cubicBezTo>
                      <a:pt x="-14066" y="-35089"/>
                      <a:pt x="35524" y="-3855"/>
                      <a:pt x="57921" y="44433"/>
                    </a:cubicBezTo>
                    <a:cubicBezTo>
                      <a:pt x="192170" y="333343"/>
                      <a:pt x="455052" y="356905"/>
                      <a:pt x="562383" y="373549"/>
                    </a:cubicBezTo>
                    <a:close/>
                  </a:path>
                </a:pathLst>
              </a:custGeom>
              <a:solidFill>
                <a:srgbClr val="FFFFFF">
                  <a:alpha val="5475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6" name="Google Shape;75;p12">
            <a:extLst>
              <a:ext uri="{FF2B5EF4-FFF2-40B4-BE49-F238E27FC236}">
                <a16:creationId xmlns:a16="http://schemas.microsoft.com/office/drawing/2014/main" id="{7EC77ABD-B5B8-457F-9CDD-ABA5FFF80134}"/>
              </a:ext>
            </a:extLst>
          </p:cNvPr>
          <p:cNvSpPr txBox="1">
            <a:spLocks/>
          </p:cNvSpPr>
          <p:nvPr/>
        </p:nvSpPr>
        <p:spPr>
          <a:xfrm>
            <a:off x="855274" y="1509925"/>
            <a:ext cx="4153141" cy="2199926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s-MX" sz="1200" b="1" dirty="0">
              <a:solidFill>
                <a:schemeClr val="bg1"/>
              </a:solidFill>
              <a:latin typeface="Quicksand Light"/>
              <a:sym typeface="Quicksand Light"/>
            </a:endParaRPr>
          </a:p>
          <a:p>
            <a:r>
              <a:rPr lang="es-MX" sz="1200" b="1" dirty="0">
                <a:solidFill>
                  <a:schemeClr val="bg1"/>
                </a:solidFill>
                <a:latin typeface="Quicksand Light"/>
                <a:sym typeface="Quicksand Light"/>
              </a:rPr>
              <a:t>Importar Imágenes </a:t>
            </a:r>
          </a:p>
          <a:p>
            <a:endParaRPr lang="es-MX" sz="1200" b="1" dirty="0">
              <a:solidFill>
                <a:schemeClr val="bg1"/>
              </a:solidFill>
              <a:latin typeface="Quicksand Light"/>
              <a:sym typeface="Quicksand Light"/>
            </a:endParaRPr>
          </a:p>
          <a:p>
            <a:r>
              <a:rPr lang="es-MX" sz="1200" b="1" dirty="0">
                <a:solidFill>
                  <a:schemeClr val="bg1"/>
                </a:solidFill>
                <a:latin typeface="Quicksand Light"/>
                <a:sym typeface="Quicksand Light"/>
              </a:rPr>
              <a:t>Pasar las listas de formato Excel a formato de lista</a:t>
            </a:r>
          </a:p>
          <a:p>
            <a:r>
              <a:rPr lang="es-MX" sz="1200" b="1" dirty="0">
                <a:solidFill>
                  <a:schemeClr val="bg1"/>
                </a:solidFill>
                <a:latin typeface="Quicksand Light"/>
                <a:sym typeface="Quicksand Light"/>
              </a:rPr>
              <a:t>(con la clase de Pandas nos fue mas fácil hacerlo)</a:t>
            </a:r>
          </a:p>
          <a:p>
            <a:endParaRPr lang="es-MX" sz="1200" b="1" dirty="0">
              <a:solidFill>
                <a:schemeClr val="bg1"/>
              </a:solidFill>
              <a:latin typeface="Quicksand Light"/>
              <a:sym typeface="Quicksand Light"/>
            </a:endParaRPr>
          </a:p>
          <a:p>
            <a:r>
              <a:rPr lang="es-MX" sz="1200" b="1" dirty="0">
                <a:solidFill>
                  <a:schemeClr val="bg1"/>
                </a:solidFill>
                <a:latin typeface="Quicksand Light"/>
                <a:sym typeface="Quicksand Light"/>
              </a:rPr>
              <a:t>El que fuera apareciendo la letra y desapareciendo la línea.</a:t>
            </a:r>
          </a:p>
          <a:p>
            <a:endParaRPr lang="es-MX" sz="1200" b="1" dirty="0">
              <a:solidFill>
                <a:schemeClr val="bg1"/>
              </a:solidFill>
              <a:latin typeface="Quicksand Light"/>
              <a:sym typeface="Quicksand Light"/>
            </a:endParaRPr>
          </a:p>
          <a:p>
            <a:r>
              <a:rPr lang="es-MX" sz="1200" b="1" dirty="0">
                <a:solidFill>
                  <a:schemeClr val="bg1"/>
                </a:solidFill>
                <a:latin typeface="Quicksand Light"/>
                <a:sym typeface="Quicksand Light"/>
              </a:rPr>
              <a:t>Cuando se realizo el código los pasos se hicieron por separado y el juntarlos tomo tiempo</a:t>
            </a:r>
          </a:p>
          <a:p>
            <a:endParaRPr lang="es-MX" sz="1200" b="1" dirty="0">
              <a:solidFill>
                <a:schemeClr val="bg1"/>
              </a:solidFill>
              <a:latin typeface="Quicksand Light"/>
              <a:sym typeface="Quicksand Light"/>
            </a:endParaRPr>
          </a:p>
          <a:p>
            <a:endParaRPr lang="es-MX" sz="1200" b="1" dirty="0">
              <a:solidFill>
                <a:schemeClr val="bg1"/>
              </a:solidFill>
              <a:latin typeface="Quicksand Light"/>
              <a:sym typeface="Quicksand Light"/>
            </a:endParaRPr>
          </a:p>
          <a:p>
            <a:endParaRPr lang="es-MX" sz="1200" b="1" dirty="0"/>
          </a:p>
          <a:p>
            <a:endParaRPr lang="es-MX" sz="1200" b="1" dirty="0"/>
          </a:p>
          <a:p>
            <a:pPr>
              <a:spcBef>
                <a:spcPts val="600"/>
              </a:spcBef>
              <a:buClr>
                <a:schemeClr val="dk1"/>
              </a:buClr>
              <a:buSzPts val="1100"/>
            </a:pPr>
            <a:endParaRPr lang="es-MX" sz="1600" dirty="0"/>
          </a:p>
        </p:txBody>
      </p:sp>
    </p:spTree>
    <p:extLst>
      <p:ext uri="{BB962C8B-B14F-4D97-AF65-F5344CB8AC3E}">
        <p14:creationId xmlns:p14="http://schemas.microsoft.com/office/powerpoint/2010/main" val="18724368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EB3562-516E-42B9-8BF8-23B048C1E8A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EB3562-516E-42B9-8BF8-23B048C1E8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3" name="Google Shape;423;p25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5</a:t>
            </a:fld>
            <a:endParaRPr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4F5AE42-6747-4EA2-8FA5-10A8FFB4357A}"/>
              </a:ext>
            </a:extLst>
          </p:cNvPr>
          <p:cNvSpPr/>
          <p:nvPr/>
        </p:nvSpPr>
        <p:spPr>
          <a:xfrm>
            <a:off x="-86903" y="536273"/>
            <a:ext cx="540808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" sz="3600" b="1" dirty="0">
                <a:solidFill>
                  <a:schemeClr val="lt1"/>
                </a:solidFill>
                <a:latin typeface="Atma"/>
                <a:ea typeface="Quicksand Light"/>
                <a:cs typeface="Atma"/>
                <a:sym typeface="Quicksand Light"/>
              </a:rPr>
              <a:t>Next S</a:t>
            </a:r>
            <a:r>
              <a:rPr lang="en-US" sz="3600" b="1" dirty="0" err="1">
                <a:solidFill>
                  <a:schemeClr val="lt1"/>
                </a:solidFill>
                <a:latin typeface="Atma"/>
                <a:ea typeface="Quicksand Light"/>
                <a:cs typeface="Atma"/>
                <a:sym typeface="Quicksand Light"/>
              </a:rPr>
              <a:t>teps</a:t>
            </a:r>
            <a:r>
              <a:rPr lang="en-US" sz="3600" b="1" dirty="0">
                <a:solidFill>
                  <a:schemeClr val="lt1"/>
                </a:solidFill>
                <a:latin typeface="Atma"/>
                <a:ea typeface="Quicksand Light"/>
                <a:cs typeface="Atma"/>
                <a:sym typeface="Quicksand Light"/>
              </a:rPr>
              <a:t>… </a:t>
            </a:r>
            <a:endParaRPr lang="es-MX" sz="3600" dirty="0">
              <a:solidFill>
                <a:schemeClr val="accent3"/>
              </a:solidFill>
              <a:latin typeface="Quicksand Light"/>
              <a:ea typeface="Quicksand Light"/>
              <a:cs typeface="Quicksand Light"/>
              <a:sym typeface="Quicksand Light"/>
            </a:endParaRPr>
          </a:p>
        </p:txBody>
      </p:sp>
      <p:sp>
        <p:nvSpPr>
          <p:cNvPr id="97" name="Google Shape;75;p12">
            <a:extLst>
              <a:ext uri="{FF2B5EF4-FFF2-40B4-BE49-F238E27FC236}">
                <a16:creationId xmlns:a16="http://schemas.microsoft.com/office/drawing/2014/main" id="{F6E1F20E-E10D-469A-87DF-B769809DCBE5}"/>
              </a:ext>
            </a:extLst>
          </p:cNvPr>
          <p:cNvSpPr txBox="1">
            <a:spLocks/>
          </p:cNvSpPr>
          <p:nvPr/>
        </p:nvSpPr>
        <p:spPr>
          <a:xfrm>
            <a:off x="1190268" y="1870812"/>
            <a:ext cx="3776501" cy="1710288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MX" sz="1200" b="1" dirty="0">
                <a:solidFill>
                  <a:schemeClr val="bg1"/>
                </a:solidFill>
                <a:latin typeface="Quicksand Light"/>
                <a:sym typeface="Quicksand Light"/>
              </a:rPr>
              <a:t>Mejorar la interfaz de usuario</a:t>
            </a:r>
          </a:p>
          <a:p>
            <a:endParaRPr lang="es-MX" sz="1200" b="1" dirty="0">
              <a:solidFill>
                <a:schemeClr val="bg1"/>
              </a:solidFill>
            </a:endParaRPr>
          </a:p>
          <a:p>
            <a:r>
              <a:rPr lang="es-MX" sz="1200" b="1" dirty="0">
                <a:solidFill>
                  <a:schemeClr val="bg1"/>
                </a:solidFill>
                <a:latin typeface="Quicksand Light"/>
              </a:rPr>
              <a:t>Buscar la manera de hacer el código en menos líneas.</a:t>
            </a:r>
          </a:p>
          <a:p>
            <a:endParaRPr lang="es-MX" sz="1200" b="1" dirty="0">
              <a:solidFill>
                <a:schemeClr val="bg1"/>
              </a:solidFill>
              <a:latin typeface="Quicksand Light"/>
            </a:endParaRPr>
          </a:p>
          <a:p>
            <a:r>
              <a:rPr lang="es-MX" sz="1200" b="1" dirty="0">
                <a:solidFill>
                  <a:schemeClr val="bg1"/>
                </a:solidFill>
                <a:latin typeface="Quicksand Light"/>
              </a:rPr>
              <a:t>Que las listas de palabras sean extraídas de ciertas paginas de internet y no manualmente </a:t>
            </a:r>
          </a:p>
          <a:p>
            <a:endParaRPr lang="es-MX" sz="1200" b="1" dirty="0"/>
          </a:p>
        </p:txBody>
      </p:sp>
      <p:grpSp>
        <p:nvGrpSpPr>
          <p:cNvPr id="98" name="Google Shape;47;p11">
            <a:extLst>
              <a:ext uri="{FF2B5EF4-FFF2-40B4-BE49-F238E27FC236}">
                <a16:creationId xmlns:a16="http://schemas.microsoft.com/office/drawing/2014/main" id="{15DA22E7-747A-4EEC-BCD2-B11C1ABA475B}"/>
              </a:ext>
            </a:extLst>
          </p:cNvPr>
          <p:cNvGrpSpPr/>
          <p:nvPr/>
        </p:nvGrpSpPr>
        <p:grpSpPr>
          <a:xfrm>
            <a:off x="5951564" y="1647431"/>
            <a:ext cx="1837957" cy="1427239"/>
            <a:chOff x="2860826" y="401530"/>
            <a:chExt cx="2115269" cy="1642581"/>
          </a:xfrm>
        </p:grpSpPr>
        <p:sp>
          <p:nvSpPr>
            <p:cNvPr id="99" name="Google Shape;48;p11">
              <a:extLst>
                <a:ext uri="{FF2B5EF4-FFF2-40B4-BE49-F238E27FC236}">
                  <a16:creationId xmlns:a16="http://schemas.microsoft.com/office/drawing/2014/main" id="{1E6FAB74-4CE2-4FE3-B7FC-2977750090C4}"/>
                </a:ext>
              </a:extLst>
            </p:cNvPr>
            <p:cNvSpPr/>
            <p:nvPr/>
          </p:nvSpPr>
          <p:spPr>
            <a:xfrm>
              <a:off x="2860826" y="401530"/>
              <a:ext cx="2115269" cy="1642581"/>
            </a:xfrm>
            <a:custGeom>
              <a:avLst/>
              <a:gdLst/>
              <a:ahLst/>
              <a:cxnLst/>
              <a:rect l="l" t="t" r="r" b="b"/>
              <a:pathLst>
                <a:path w="2115269" h="1642581" extrusionOk="0">
                  <a:moveTo>
                    <a:pt x="245052" y="1642582"/>
                  </a:moveTo>
                  <a:cubicBezTo>
                    <a:pt x="509714" y="1619636"/>
                    <a:pt x="782253" y="1607649"/>
                    <a:pt x="1060477" y="1607649"/>
                  </a:cubicBezTo>
                  <a:cubicBezTo>
                    <a:pt x="1331715" y="1607649"/>
                    <a:pt x="1597541" y="1619088"/>
                    <a:pt x="1855902" y="1640869"/>
                  </a:cubicBezTo>
                  <a:cubicBezTo>
                    <a:pt x="1868690" y="1627170"/>
                    <a:pt x="1881060" y="1612992"/>
                    <a:pt x="1893026" y="1598334"/>
                  </a:cubicBezTo>
                  <a:cubicBezTo>
                    <a:pt x="1980028" y="1493928"/>
                    <a:pt x="2044145" y="1372426"/>
                    <a:pt x="2081249" y="1241684"/>
                  </a:cubicBezTo>
                  <a:cubicBezTo>
                    <a:pt x="2119756" y="1105894"/>
                    <a:pt x="2125668" y="962926"/>
                    <a:pt x="2098509" y="824416"/>
                  </a:cubicBezTo>
                  <a:cubicBezTo>
                    <a:pt x="2049057" y="569754"/>
                    <a:pt x="1935630" y="368312"/>
                    <a:pt x="1761449" y="225501"/>
                  </a:cubicBezTo>
                  <a:cubicBezTo>
                    <a:pt x="1578980" y="75910"/>
                    <a:pt x="1339797" y="18"/>
                    <a:pt x="1050682" y="18"/>
                  </a:cubicBezTo>
                  <a:cubicBezTo>
                    <a:pt x="903988" y="-836"/>
                    <a:pt x="758732" y="28980"/>
                    <a:pt x="624236" y="87554"/>
                  </a:cubicBezTo>
                  <a:cubicBezTo>
                    <a:pt x="501508" y="141599"/>
                    <a:pt x="390609" y="219263"/>
                    <a:pt x="297861" y="316119"/>
                  </a:cubicBezTo>
                  <a:cubicBezTo>
                    <a:pt x="101419" y="520575"/>
                    <a:pt x="-9679" y="802772"/>
                    <a:pt x="663" y="1071749"/>
                  </a:cubicBezTo>
                  <a:cubicBezTo>
                    <a:pt x="9088" y="1284356"/>
                    <a:pt x="94775" y="1483332"/>
                    <a:pt x="245052" y="1642582"/>
                  </a:cubicBezTo>
                  <a:close/>
                </a:path>
              </a:pathLst>
            </a:custGeom>
            <a:solidFill>
              <a:srgbClr val="09052E">
                <a:alpha val="1173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" name="Google Shape;49;p11">
              <a:extLst>
                <a:ext uri="{FF2B5EF4-FFF2-40B4-BE49-F238E27FC236}">
                  <a16:creationId xmlns:a16="http://schemas.microsoft.com/office/drawing/2014/main" id="{A257BB3B-B3FA-4F1D-BD16-27A77EE8B495}"/>
                </a:ext>
              </a:extLst>
            </p:cNvPr>
            <p:cNvSpPr/>
            <p:nvPr/>
          </p:nvSpPr>
          <p:spPr>
            <a:xfrm>
              <a:off x="2983792" y="475316"/>
              <a:ext cx="1869056" cy="1552082"/>
            </a:xfrm>
            <a:custGeom>
              <a:avLst/>
              <a:gdLst/>
              <a:ahLst/>
              <a:cxnLst/>
              <a:rect l="l" t="t" r="r" b="b"/>
              <a:pathLst>
                <a:path w="1869056" h="1552082" extrusionOk="0">
                  <a:moveTo>
                    <a:pt x="347020" y="1552083"/>
                  </a:moveTo>
                  <a:cubicBezTo>
                    <a:pt x="540360" y="1540028"/>
                    <a:pt x="737185" y="1533952"/>
                    <a:pt x="937510" y="1533863"/>
                  </a:cubicBezTo>
                  <a:cubicBezTo>
                    <a:pt x="1132446" y="1533863"/>
                    <a:pt x="1324230" y="1539637"/>
                    <a:pt x="1512863" y="1551192"/>
                  </a:cubicBezTo>
                  <a:cubicBezTo>
                    <a:pt x="1766292" y="1362285"/>
                    <a:pt x="1918076" y="1051183"/>
                    <a:pt x="1854650" y="724876"/>
                  </a:cubicBezTo>
                  <a:cubicBezTo>
                    <a:pt x="1769717" y="285279"/>
                    <a:pt x="1464506" y="0"/>
                    <a:pt x="927716" y="0"/>
                  </a:cubicBezTo>
                  <a:cubicBezTo>
                    <a:pt x="337774" y="0"/>
                    <a:pt x="-16274" y="505694"/>
                    <a:pt x="576" y="943990"/>
                  </a:cubicBezTo>
                  <a:cubicBezTo>
                    <a:pt x="10028" y="1188583"/>
                    <a:pt x="140167" y="1406875"/>
                    <a:pt x="347020" y="155208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" name="Google Shape;50;p11">
              <a:extLst>
                <a:ext uri="{FF2B5EF4-FFF2-40B4-BE49-F238E27FC236}">
                  <a16:creationId xmlns:a16="http://schemas.microsoft.com/office/drawing/2014/main" id="{B5D861CA-E31F-481B-B66A-DB6B43DEF7FB}"/>
                </a:ext>
              </a:extLst>
            </p:cNvPr>
            <p:cNvSpPr/>
            <p:nvPr/>
          </p:nvSpPr>
          <p:spPr>
            <a:xfrm>
              <a:off x="3539074" y="964575"/>
              <a:ext cx="758060" cy="758156"/>
            </a:xfrm>
            <a:custGeom>
              <a:avLst/>
              <a:gdLst/>
              <a:ahLst/>
              <a:cxnLst/>
              <a:rect l="l" t="t" r="r" b="b"/>
              <a:pathLst>
                <a:path w="758060" h="758156" extrusionOk="0">
                  <a:moveTo>
                    <a:pt x="724496" y="223151"/>
                  </a:moveTo>
                  <a:cubicBezTo>
                    <a:pt x="687310" y="294289"/>
                    <a:pt x="599493" y="321817"/>
                    <a:pt x="528355" y="284631"/>
                  </a:cubicBezTo>
                  <a:cubicBezTo>
                    <a:pt x="457217" y="247446"/>
                    <a:pt x="429689" y="159629"/>
                    <a:pt x="466875" y="88491"/>
                  </a:cubicBezTo>
                  <a:cubicBezTo>
                    <a:pt x="479923" y="63532"/>
                    <a:pt x="499937" y="42901"/>
                    <a:pt x="524492" y="29106"/>
                  </a:cubicBezTo>
                  <a:cubicBezTo>
                    <a:pt x="331208" y="-51203"/>
                    <a:pt x="109416" y="40382"/>
                    <a:pt x="29107" y="233665"/>
                  </a:cubicBezTo>
                  <a:cubicBezTo>
                    <a:pt x="-51203" y="426949"/>
                    <a:pt x="40381" y="648740"/>
                    <a:pt x="233665" y="729050"/>
                  </a:cubicBezTo>
                  <a:cubicBezTo>
                    <a:pt x="426949" y="809360"/>
                    <a:pt x="648741" y="717776"/>
                    <a:pt x="729051" y="524492"/>
                  </a:cubicBezTo>
                  <a:cubicBezTo>
                    <a:pt x="769257" y="427730"/>
                    <a:pt x="767606" y="318645"/>
                    <a:pt x="724496" y="223151"/>
                  </a:cubicBezTo>
                  <a:close/>
                </a:path>
              </a:pathLst>
            </a:custGeom>
            <a:gradFill>
              <a:gsLst>
                <a:gs pos="0">
                  <a:schemeClr val="accent5"/>
                </a:gs>
                <a:gs pos="100000">
                  <a:srgbClr val="FF4D82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" name="Google Shape;51;p11">
              <a:extLst>
                <a:ext uri="{FF2B5EF4-FFF2-40B4-BE49-F238E27FC236}">
                  <a16:creationId xmlns:a16="http://schemas.microsoft.com/office/drawing/2014/main" id="{98001B63-808D-472C-98C7-3CAC76BCC489}"/>
                </a:ext>
              </a:extLst>
            </p:cNvPr>
            <p:cNvSpPr/>
            <p:nvPr/>
          </p:nvSpPr>
          <p:spPr>
            <a:xfrm>
              <a:off x="3712949" y="1137272"/>
              <a:ext cx="411706" cy="411763"/>
            </a:xfrm>
            <a:custGeom>
              <a:avLst/>
              <a:gdLst/>
              <a:ahLst/>
              <a:cxnLst/>
              <a:rect l="l" t="t" r="r" b="b"/>
              <a:pathLst>
                <a:path w="411706" h="411763" extrusionOk="0">
                  <a:moveTo>
                    <a:pt x="279862" y="13810"/>
                  </a:moveTo>
                  <a:cubicBezTo>
                    <a:pt x="173784" y="-27047"/>
                    <a:pt x="54666" y="25824"/>
                    <a:pt x="13809" y="131901"/>
                  </a:cubicBezTo>
                  <a:cubicBezTo>
                    <a:pt x="-27048" y="237978"/>
                    <a:pt x="25830" y="357097"/>
                    <a:pt x="131907" y="397954"/>
                  </a:cubicBezTo>
                  <a:cubicBezTo>
                    <a:pt x="237984" y="438811"/>
                    <a:pt x="357096" y="385940"/>
                    <a:pt x="397953" y="279863"/>
                  </a:cubicBezTo>
                  <a:cubicBezTo>
                    <a:pt x="417090" y="230170"/>
                    <a:pt x="416227" y="174998"/>
                    <a:pt x="395549" y="125935"/>
                  </a:cubicBezTo>
                  <a:cubicBezTo>
                    <a:pt x="337897" y="115325"/>
                    <a:pt x="292273" y="71105"/>
                    <a:pt x="279862" y="1381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3" name="Google Shape;52;p11">
              <a:extLst>
                <a:ext uri="{FF2B5EF4-FFF2-40B4-BE49-F238E27FC236}">
                  <a16:creationId xmlns:a16="http://schemas.microsoft.com/office/drawing/2014/main" id="{D9AEFEAE-CA53-40DD-BFC1-48D3C1B59506}"/>
                </a:ext>
              </a:extLst>
            </p:cNvPr>
            <p:cNvSpPr/>
            <p:nvPr/>
          </p:nvSpPr>
          <p:spPr>
            <a:xfrm>
              <a:off x="2983798" y="1299235"/>
              <a:ext cx="1868927" cy="728163"/>
            </a:xfrm>
            <a:custGeom>
              <a:avLst/>
              <a:gdLst/>
              <a:ahLst/>
              <a:cxnLst/>
              <a:rect l="l" t="t" r="r" b="b"/>
              <a:pathLst>
                <a:path w="1868927" h="728163" extrusionOk="0">
                  <a:moveTo>
                    <a:pt x="347015" y="728164"/>
                  </a:moveTo>
                  <a:cubicBezTo>
                    <a:pt x="540354" y="716109"/>
                    <a:pt x="737179" y="710033"/>
                    <a:pt x="937505" y="709944"/>
                  </a:cubicBezTo>
                  <a:cubicBezTo>
                    <a:pt x="1132440" y="709944"/>
                    <a:pt x="1324224" y="715718"/>
                    <a:pt x="1512858" y="727273"/>
                  </a:cubicBezTo>
                  <a:cubicBezTo>
                    <a:pt x="1740396" y="557613"/>
                    <a:pt x="1886015" y="289457"/>
                    <a:pt x="1867316" y="0"/>
                  </a:cubicBezTo>
                  <a:cubicBezTo>
                    <a:pt x="1727793" y="347404"/>
                    <a:pt x="1367307" y="603915"/>
                    <a:pt x="963190" y="603915"/>
                  </a:cubicBezTo>
                  <a:cubicBezTo>
                    <a:pt x="507292" y="603915"/>
                    <a:pt x="141943" y="366308"/>
                    <a:pt x="1940" y="34795"/>
                  </a:cubicBezTo>
                  <a:cubicBezTo>
                    <a:pt x="-53" y="63172"/>
                    <a:pt x="-512" y="91639"/>
                    <a:pt x="570" y="120071"/>
                  </a:cubicBezTo>
                  <a:cubicBezTo>
                    <a:pt x="10022" y="364664"/>
                    <a:pt x="140162" y="582956"/>
                    <a:pt x="347015" y="728164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04" name="Google Shape;53;p11">
            <a:extLst>
              <a:ext uri="{FF2B5EF4-FFF2-40B4-BE49-F238E27FC236}">
                <a16:creationId xmlns:a16="http://schemas.microsoft.com/office/drawing/2014/main" id="{0C05FFD5-FA73-418A-B531-A0EC4A7013D1}"/>
              </a:ext>
            </a:extLst>
          </p:cNvPr>
          <p:cNvGrpSpPr/>
          <p:nvPr/>
        </p:nvGrpSpPr>
        <p:grpSpPr>
          <a:xfrm>
            <a:off x="5490264" y="2765428"/>
            <a:ext cx="2760511" cy="1383992"/>
            <a:chOff x="2819969" y="4365386"/>
            <a:chExt cx="1694813" cy="849700"/>
          </a:xfrm>
        </p:grpSpPr>
        <p:sp>
          <p:nvSpPr>
            <p:cNvPr id="105" name="Google Shape;54;p11">
              <a:extLst>
                <a:ext uri="{FF2B5EF4-FFF2-40B4-BE49-F238E27FC236}">
                  <a16:creationId xmlns:a16="http://schemas.microsoft.com/office/drawing/2014/main" id="{7464C8BC-3068-4671-AF39-8ACD77CFCE32}"/>
                </a:ext>
              </a:extLst>
            </p:cNvPr>
            <p:cNvSpPr/>
            <p:nvPr/>
          </p:nvSpPr>
          <p:spPr>
            <a:xfrm>
              <a:off x="2819969" y="4365386"/>
              <a:ext cx="1694813" cy="767412"/>
            </a:xfrm>
            <a:custGeom>
              <a:avLst/>
              <a:gdLst/>
              <a:ahLst/>
              <a:cxnLst/>
              <a:rect l="l" t="t" r="r" b="b"/>
              <a:pathLst>
                <a:path w="1694813" h="767412" extrusionOk="0">
                  <a:moveTo>
                    <a:pt x="1693331" y="0"/>
                  </a:moveTo>
                  <a:cubicBezTo>
                    <a:pt x="1724222" y="449254"/>
                    <a:pt x="1266748" y="778027"/>
                    <a:pt x="847425" y="767137"/>
                  </a:cubicBezTo>
                  <a:cubicBezTo>
                    <a:pt x="428171" y="778302"/>
                    <a:pt x="-29782" y="449254"/>
                    <a:pt x="1520" y="0"/>
                  </a:cubicBezTo>
                  <a:cubicBezTo>
                    <a:pt x="92960" y="926660"/>
                    <a:pt x="1602234" y="926660"/>
                    <a:pt x="1693331" y="0"/>
                  </a:cubicBezTo>
                  <a:close/>
                </a:path>
              </a:pathLst>
            </a:custGeom>
            <a:solidFill>
              <a:srgbClr val="85200C"/>
            </a:solidFill>
            <a:ln>
              <a:noFill/>
            </a:ln>
            <a:effectLst>
              <a:outerShdw blurRad="28575" dist="38100" dir="5400000" algn="bl" rotWithShape="0">
                <a:schemeClr val="dk1">
                  <a:alpha val="20000"/>
                </a:scheme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" name="Google Shape;55;p11">
              <a:extLst>
                <a:ext uri="{FF2B5EF4-FFF2-40B4-BE49-F238E27FC236}">
                  <a16:creationId xmlns:a16="http://schemas.microsoft.com/office/drawing/2014/main" id="{CE7E9D72-01BB-4FB1-82D2-378C25779366}"/>
                </a:ext>
              </a:extLst>
            </p:cNvPr>
            <p:cNvSpPr/>
            <p:nvPr/>
          </p:nvSpPr>
          <p:spPr>
            <a:xfrm>
              <a:off x="4100210" y="4889162"/>
              <a:ext cx="195071" cy="325922"/>
            </a:xfrm>
            <a:custGeom>
              <a:avLst/>
              <a:gdLst/>
              <a:ahLst/>
              <a:cxnLst/>
              <a:rect l="l" t="t" r="r" b="b"/>
              <a:pathLst>
                <a:path w="195071" h="325922" extrusionOk="0">
                  <a:moveTo>
                    <a:pt x="0" y="138701"/>
                  </a:moveTo>
                  <a:cubicBezTo>
                    <a:pt x="10069" y="227196"/>
                    <a:pt x="32330" y="318567"/>
                    <a:pt x="80892" y="325554"/>
                  </a:cubicBezTo>
                  <a:cubicBezTo>
                    <a:pt x="160140" y="336787"/>
                    <a:pt x="187538" y="88426"/>
                    <a:pt x="195072" y="0"/>
                  </a:cubicBezTo>
                  <a:cubicBezTo>
                    <a:pt x="136660" y="54898"/>
                    <a:pt x="71036" y="101557"/>
                    <a:pt x="0" y="138701"/>
                  </a:cubicBezTo>
                  <a:close/>
                </a:path>
              </a:pathLst>
            </a:custGeom>
            <a:gradFill>
              <a:gsLst>
                <a:gs pos="0">
                  <a:srgbClr val="F0E0C7"/>
                </a:gs>
                <a:gs pos="50000">
                  <a:srgbClr val="F8F1E4"/>
                </a:gs>
                <a:gs pos="100000">
                  <a:schemeClr val="lt1"/>
                </a:gs>
              </a:gsLst>
              <a:lin ang="5400012" scaled="0"/>
            </a:gradFill>
            <a:ln>
              <a:noFill/>
            </a:ln>
            <a:effectLst>
              <a:outerShdw blurRad="14288" dist="28575" dir="5400000" algn="bl" rotWithShape="0">
                <a:schemeClr val="dk1">
                  <a:alpha val="30000"/>
                </a:scheme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" name="Google Shape;56;p11">
              <a:extLst>
                <a:ext uri="{FF2B5EF4-FFF2-40B4-BE49-F238E27FC236}">
                  <a16:creationId xmlns:a16="http://schemas.microsoft.com/office/drawing/2014/main" id="{32135080-0A61-4E93-B98B-10AA13F6C96D}"/>
                </a:ext>
              </a:extLst>
            </p:cNvPr>
            <p:cNvSpPr/>
            <p:nvPr/>
          </p:nvSpPr>
          <p:spPr>
            <a:xfrm>
              <a:off x="3037246" y="4887244"/>
              <a:ext cx="186715" cy="327842"/>
            </a:xfrm>
            <a:custGeom>
              <a:avLst/>
              <a:gdLst/>
              <a:ahLst/>
              <a:cxnLst/>
              <a:rect l="l" t="t" r="r" b="b"/>
              <a:pathLst>
                <a:path w="186715" h="327842" extrusionOk="0">
                  <a:moveTo>
                    <a:pt x="0" y="0"/>
                  </a:moveTo>
                  <a:cubicBezTo>
                    <a:pt x="822" y="82672"/>
                    <a:pt x="10206" y="316170"/>
                    <a:pt x="89043" y="327472"/>
                  </a:cubicBezTo>
                  <a:cubicBezTo>
                    <a:pt x="140413" y="334801"/>
                    <a:pt x="170140" y="232127"/>
                    <a:pt x="186716" y="135139"/>
                  </a:cubicBezTo>
                  <a:cubicBezTo>
                    <a:pt x="118797" y="98508"/>
                    <a:pt x="56015" y="53069"/>
                    <a:pt x="0" y="0"/>
                  </a:cubicBezTo>
                  <a:close/>
                </a:path>
              </a:pathLst>
            </a:custGeom>
            <a:gradFill>
              <a:gsLst>
                <a:gs pos="0">
                  <a:srgbClr val="F0E0C7"/>
                </a:gs>
                <a:gs pos="50000">
                  <a:srgbClr val="F8F1E4"/>
                </a:gs>
                <a:gs pos="100000">
                  <a:schemeClr val="lt1"/>
                </a:gs>
              </a:gsLst>
              <a:lin ang="5400012" scaled="0"/>
            </a:gradFill>
            <a:ln>
              <a:noFill/>
            </a:ln>
            <a:effectLst>
              <a:outerShdw blurRad="14288" dist="28575" dir="5400000" algn="bl" rotWithShape="0">
                <a:schemeClr val="dk1">
                  <a:alpha val="30000"/>
                </a:scheme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08" name="Google Shape;57;p11">
            <a:extLst>
              <a:ext uri="{FF2B5EF4-FFF2-40B4-BE49-F238E27FC236}">
                <a16:creationId xmlns:a16="http://schemas.microsoft.com/office/drawing/2014/main" id="{6F7F2899-3345-4240-BBFB-F3CAF541B4DF}"/>
              </a:ext>
            </a:extLst>
          </p:cNvPr>
          <p:cNvGrpSpPr/>
          <p:nvPr/>
        </p:nvGrpSpPr>
        <p:grpSpPr>
          <a:xfrm>
            <a:off x="7784795" y="1038318"/>
            <a:ext cx="635108" cy="1001050"/>
            <a:chOff x="1620532" y="2740711"/>
            <a:chExt cx="745257" cy="1174666"/>
          </a:xfrm>
        </p:grpSpPr>
        <p:sp>
          <p:nvSpPr>
            <p:cNvPr id="109" name="Google Shape;58;p11">
              <a:extLst>
                <a:ext uri="{FF2B5EF4-FFF2-40B4-BE49-F238E27FC236}">
                  <a16:creationId xmlns:a16="http://schemas.microsoft.com/office/drawing/2014/main" id="{C8CE045E-F15E-4B52-B26C-0411EE5790D8}"/>
                </a:ext>
              </a:extLst>
            </p:cNvPr>
            <p:cNvSpPr/>
            <p:nvPr/>
          </p:nvSpPr>
          <p:spPr>
            <a:xfrm>
              <a:off x="1620532" y="2740711"/>
              <a:ext cx="745257" cy="1174666"/>
            </a:xfrm>
            <a:custGeom>
              <a:avLst/>
              <a:gdLst/>
              <a:ahLst/>
              <a:cxnLst/>
              <a:rect l="l" t="t" r="r" b="b"/>
              <a:pathLst>
                <a:path w="745257" h="1174666" extrusionOk="0">
                  <a:moveTo>
                    <a:pt x="105526" y="385886"/>
                  </a:moveTo>
                  <a:cubicBezTo>
                    <a:pt x="105526" y="385886"/>
                    <a:pt x="389709" y="456640"/>
                    <a:pt x="547452" y="114511"/>
                  </a:cubicBezTo>
                  <a:cubicBezTo>
                    <a:pt x="625124" y="-53848"/>
                    <a:pt x="678481" y="-1313"/>
                    <a:pt x="704989" y="51359"/>
                  </a:cubicBezTo>
                  <a:cubicBezTo>
                    <a:pt x="763894" y="169032"/>
                    <a:pt x="825744" y="770550"/>
                    <a:pt x="360393" y="1174667"/>
                  </a:cubicBezTo>
                  <a:cubicBezTo>
                    <a:pt x="360257" y="1174598"/>
                    <a:pt x="-235850" y="1027952"/>
                    <a:pt x="105526" y="385886"/>
                  </a:cubicBezTo>
                  <a:close/>
                </a:path>
              </a:pathLst>
            </a:custGeom>
            <a:solidFill>
              <a:srgbClr val="F8F1E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" name="Google Shape;59;p11">
              <a:extLst>
                <a:ext uri="{FF2B5EF4-FFF2-40B4-BE49-F238E27FC236}">
                  <a16:creationId xmlns:a16="http://schemas.microsoft.com/office/drawing/2014/main" id="{5C4E16DE-9BF6-485E-96BA-6C6ED6B1FEE8}"/>
                </a:ext>
              </a:extLst>
            </p:cNvPr>
            <p:cNvSpPr/>
            <p:nvPr/>
          </p:nvSpPr>
          <p:spPr>
            <a:xfrm>
              <a:off x="1763362" y="3112760"/>
              <a:ext cx="446402" cy="667683"/>
            </a:xfrm>
            <a:custGeom>
              <a:avLst/>
              <a:gdLst/>
              <a:ahLst/>
              <a:cxnLst/>
              <a:rect l="l" t="t" r="r" b="b"/>
              <a:pathLst>
                <a:path w="446402" h="667683" extrusionOk="0">
                  <a:moveTo>
                    <a:pt x="446403" y="526996"/>
                  </a:moveTo>
                  <a:cubicBezTo>
                    <a:pt x="278523" y="500214"/>
                    <a:pt x="48382" y="393843"/>
                    <a:pt x="145028" y="0"/>
                  </a:cubicBezTo>
                  <a:cubicBezTo>
                    <a:pt x="115342" y="10103"/>
                    <a:pt x="84506" y="16432"/>
                    <a:pt x="53245" y="18836"/>
                  </a:cubicBezTo>
                  <a:cubicBezTo>
                    <a:pt x="-14085" y="183222"/>
                    <a:pt x="-95456" y="533023"/>
                    <a:pt x="348456" y="667683"/>
                  </a:cubicBezTo>
                  <a:cubicBezTo>
                    <a:pt x="384785" y="623463"/>
                    <a:pt x="417539" y="576414"/>
                    <a:pt x="446403" y="526996"/>
                  </a:cubicBezTo>
                  <a:close/>
                </a:path>
              </a:pathLst>
            </a:custGeom>
            <a:solidFill>
              <a:srgbClr val="F0E0C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" name="Google Shape;60;p11">
              <a:extLst>
                <a:ext uri="{FF2B5EF4-FFF2-40B4-BE49-F238E27FC236}">
                  <a16:creationId xmlns:a16="http://schemas.microsoft.com/office/drawing/2014/main" id="{81CAF8FB-A5BA-4EB2-A66E-318577163532}"/>
                </a:ext>
              </a:extLst>
            </p:cNvPr>
            <p:cNvSpPr/>
            <p:nvPr/>
          </p:nvSpPr>
          <p:spPr>
            <a:xfrm>
              <a:off x="1980517" y="3061527"/>
              <a:ext cx="341579" cy="420075"/>
            </a:xfrm>
            <a:custGeom>
              <a:avLst/>
              <a:gdLst/>
              <a:ahLst/>
              <a:cxnLst/>
              <a:rect l="l" t="t" r="r" b="b"/>
              <a:pathLst>
                <a:path w="341579" h="420075" extrusionOk="0">
                  <a:moveTo>
                    <a:pt x="26848" y="0"/>
                  </a:moveTo>
                  <a:cubicBezTo>
                    <a:pt x="18170" y="6301"/>
                    <a:pt x="9430" y="12103"/>
                    <a:pt x="614" y="17398"/>
                  </a:cubicBezTo>
                  <a:cubicBezTo>
                    <a:pt x="-5002" y="131783"/>
                    <a:pt x="22670" y="353020"/>
                    <a:pt x="305346" y="420076"/>
                  </a:cubicBezTo>
                  <a:cubicBezTo>
                    <a:pt x="319593" y="383294"/>
                    <a:pt x="331579" y="346719"/>
                    <a:pt x="341579" y="310485"/>
                  </a:cubicBezTo>
                  <a:cubicBezTo>
                    <a:pt x="258016" y="305280"/>
                    <a:pt x="119795" y="254114"/>
                    <a:pt x="26848" y="0"/>
                  </a:cubicBezTo>
                  <a:close/>
                </a:path>
              </a:pathLst>
            </a:custGeom>
            <a:solidFill>
              <a:srgbClr val="F0E0C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" name="Google Shape;61;p11">
              <a:extLst>
                <a:ext uri="{FF2B5EF4-FFF2-40B4-BE49-F238E27FC236}">
                  <a16:creationId xmlns:a16="http://schemas.microsoft.com/office/drawing/2014/main" id="{5E17CAF1-F67B-4E81-B9C4-75CFFBD33F70}"/>
                </a:ext>
              </a:extLst>
            </p:cNvPr>
            <p:cNvSpPr/>
            <p:nvPr/>
          </p:nvSpPr>
          <p:spPr>
            <a:xfrm>
              <a:off x="2085517" y="2976457"/>
              <a:ext cx="278498" cy="208133"/>
            </a:xfrm>
            <a:custGeom>
              <a:avLst/>
              <a:gdLst/>
              <a:ahLst/>
              <a:cxnLst/>
              <a:rect l="l" t="t" r="r" b="b"/>
              <a:pathLst>
                <a:path w="278498" h="208133" extrusionOk="0">
                  <a:moveTo>
                    <a:pt x="9521" y="0"/>
                  </a:moveTo>
                  <a:cubicBezTo>
                    <a:pt x="6370" y="4041"/>
                    <a:pt x="3219" y="7877"/>
                    <a:pt x="0" y="11713"/>
                  </a:cubicBezTo>
                  <a:cubicBezTo>
                    <a:pt x="34795" y="89522"/>
                    <a:pt x="117468" y="221785"/>
                    <a:pt x="272744" y="206990"/>
                  </a:cubicBezTo>
                  <a:cubicBezTo>
                    <a:pt x="275416" y="182812"/>
                    <a:pt x="277334" y="159044"/>
                    <a:pt x="278498" y="136441"/>
                  </a:cubicBezTo>
                  <a:cubicBezTo>
                    <a:pt x="201168" y="146578"/>
                    <a:pt x="103906" y="122947"/>
                    <a:pt x="9521" y="0"/>
                  </a:cubicBezTo>
                  <a:close/>
                </a:path>
              </a:pathLst>
            </a:custGeom>
            <a:solidFill>
              <a:srgbClr val="F0E0C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62;p11">
              <a:extLst>
                <a:ext uri="{FF2B5EF4-FFF2-40B4-BE49-F238E27FC236}">
                  <a16:creationId xmlns:a16="http://schemas.microsoft.com/office/drawing/2014/main" id="{B400B45C-0F22-4F2A-BFBF-4DC2F6C9CAD3}"/>
                </a:ext>
              </a:extLst>
            </p:cNvPr>
            <p:cNvSpPr/>
            <p:nvPr/>
          </p:nvSpPr>
          <p:spPr>
            <a:xfrm>
              <a:off x="1623727" y="2881337"/>
              <a:ext cx="606150" cy="548531"/>
            </a:xfrm>
            <a:custGeom>
              <a:avLst/>
              <a:gdLst/>
              <a:ahLst/>
              <a:cxnLst/>
              <a:rect l="l" t="t" r="r" b="b"/>
              <a:pathLst>
                <a:path w="606150" h="548531" extrusionOk="0">
                  <a:moveTo>
                    <a:pt x="43768" y="373549"/>
                  </a:moveTo>
                  <a:cubicBezTo>
                    <a:pt x="21822" y="429769"/>
                    <a:pt x="7110" y="488551"/>
                    <a:pt x="0" y="548483"/>
                  </a:cubicBezTo>
                  <a:cubicBezTo>
                    <a:pt x="270142" y="552525"/>
                    <a:pt x="564668" y="299095"/>
                    <a:pt x="602340" y="72447"/>
                  </a:cubicBezTo>
                  <a:cubicBezTo>
                    <a:pt x="620217" y="-35089"/>
                    <a:pt x="570627" y="-3855"/>
                    <a:pt x="548161" y="44433"/>
                  </a:cubicBezTo>
                  <a:cubicBezTo>
                    <a:pt x="413980" y="333343"/>
                    <a:pt x="151099" y="356905"/>
                    <a:pt x="43768" y="373549"/>
                  </a:cubicBezTo>
                  <a:close/>
                </a:path>
              </a:pathLst>
            </a:custGeom>
            <a:solidFill>
              <a:srgbClr val="FFFFFF">
                <a:alpha val="5475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14" name="Google Shape;63;p11">
            <a:extLst>
              <a:ext uri="{FF2B5EF4-FFF2-40B4-BE49-F238E27FC236}">
                <a16:creationId xmlns:a16="http://schemas.microsoft.com/office/drawing/2014/main" id="{553C6FC2-C0F9-4C90-8203-12B4896A8A89}"/>
              </a:ext>
            </a:extLst>
          </p:cNvPr>
          <p:cNvGrpSpPr/>
          <p:nvPr/>
        </p:nvGrpSpPr>
        <p:grpSpPr>
          <a:xfrm>
            <a:off x="5321178" y="1038318"/>
            <a:ext cx="635075" cy="1001050"/>
            <a:chOff x="188982" y="2740711"/>
            <a:chExt cx="745218" cy="1174666"/>
          </a:xfrm>
        </p:grpSpPr>
        <p:sp>
          <p:nvSpPr>
            <p:cNvPr id="115" name="Google Shape;64;p11">
              <a:extLst>
                <a:ext uri="{FF2B5EF4-FFF2-40B4-BE49-F238E27FC236}">
                  <a16:creationId xmlns:a16="http://schemas.microsoft.com/office/drawing/2014/main" id="{7AE6397B-80AD-4214-B613-0C02519253E7}"/>
                </a:ext>
              </a:extLst>
            </p:cNvPr>
            <p:cNvSpPr/>
            <p:nvPr/>
          </p:nvSpPr>
          <p:spPr>
            <a:xfrm>
              <a:off x="188982" y="2740711"/>
              <a:ext cx="745218" cy="1174666"/>
            </a:xfrm>
            <a:custGeom>
              <a:avLst/>
              <a:gdLst/>
              <a:ahLst/>
              <a:cxnLst/>
              <a:rect l="l" t="t" r="r" b="b"/>
              <a:pathLst>
                <a:path w="745218" h="1174666" extrusionOk="0">
                  <a:moveTo>
                    <a:pt x="639800" y="385886"/>
                  </a:moveTo>
                  <a:cubicBezTo>
                    <a:pt x="639800" y="385886"/>
                    <a:pt x="355617" y="456640"/>
                    <a:pt x="197806" y="114511"/>
                  </a:cubicBezTo>
                  <a:cubicBezTo>
                    <a:pt x="120133" y="-53848"/>
                    <a:pt x="66844" y="-1313"/>
                    <a:pt x="40268" y="51359"/>
                  </a:cubicBezTo>
                  <a:cubicBezTo>
                    <a:pt x="-18637" y="169032"/>
                    <a:pt x="-80487" y="770550"/>
                    <a:pt x="384864" y="1174667"/>
                  </a:cubicBezTo>
                  <a:cubicBezTo>
                    <a:pt x="384864" y="1174598"/>
                    <a:pt x="980970" y="1027952"/>
                    <a:pt x="639800" y="385886"/>
                  </a:cubicBezTo>
                  <a:close/>
                </a:path>
              </a:pathLst>
            </a:custGeom>
            <a:solidFill>
              <a:srgbClr val="F8F1E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65;p11">
              <a:extLst>
                <a:ext uri="{FF2B5EF4-FFF2-40B4-BE49-F238E27FC236}">
                  <a16:creationId xmlns:a16="http://schemas.microsoft.com/office/drawing/2014/main" id="{E58A644E-CEE0-4081-842B-78B0FE9BCCFB}"/>
                </a:ext>
              </a:extLst>
            </p:cNvPr>
            <p:cNvSpPr/>
            <p:nvPr/>
          </p:nvSpPr>
          <p:spPr>
            <a:xfrm>
              <a:off x="344800" y="3112760"/>
              <a:ext cx="446368" cy="667683"/>
            </a:xfrm>
            <a:custGeom>
              <a:avLst/>
              <a:gdLst/>
              <a:ahLst/>
              <a:cxnLst/>
              <a:rect l="l" t="t" r="r" b="b"/>
              <a:pathLst>
                <a:path w="446368" h="667683" extrusionOk="0">
                  <a:moveTo>
                    <a:pt x="0" y="526996"/>
                  </a:moveTo>
                  <a:cubicBezTo>
                    <a:pt x="167948" y="500214"/>
                    <a:pt x="398021" y="393843"/>
                    <a:pt x="301375" y="0"/>
                  </a:cubicBezTo>
                  <a:cubicBezTo>
                    <a:pt x="331033" y="10110"/>
                    <a:pt x="361849" y="16439"/>
                    <a:pt x="393089" y="18836"/>
                  </a:cubicBezTo>
                  <a:cubicBezTo>
                    <a:pt x="460488" y="183222"/>
                    <a:pt x="541791" y="533023"/>
                    <a:pt x="97947" y="667683"/>
                  </a:cubicBezTo>
                  <a:cubicBezTo>
                    <a:pt x="61639" y="623443"/>
                    <a:pt x="28888" y="576401"/>
                    <a:pt x="0" y="526996"/>
                  </a:cubicBezTo>
                  <a:close/>
                </a:path>
              </a:pathLst>
            </a:custGeom>
            <a:solidFill>
              <a:srgbClr val="F0E0C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66;p11">
              <a:extLst>
                <a:ext uri="{FF2B5EF4-FFF2-40B4-BE49-F238E27FC236}">
                  <a16:creationId xmlns:a16="http://schemas.microsoft.com/office/drawing/2014/main" id="{5C46454B-DFFF-4295-A3C0-050BFFA4B8A2}"/>
                </a:ext>
              </a:extLst>
            </p:cNvPr>
            <p:cNvSpPr/>
            <p:nvPr/>
          </p:nvSpPr>
          <p:spPr>
            <a:xfrm>
              <a:off x="232538" y="3061527"/>
              <a:ext cx="341567" cy="420075"/>
            </a:xfrm>
            <a:custGeom>
              <a:avLst/>
              <a:gdLst/>
              <a:ahLst/>
              <a:cxnLst/>
              <a:rect l="l" t="t" r="r" b="b"/>
              <a:pathLst>
                <a:path w="341567" h="420075" extrusionOk="0">
                  <a:moveTo>
                    <a:pt x="314663" y="0"/>
                  </a:moveTo>
                  <a:cubicBezTo>
                    <a:pt x="323430" y="6301"/>
                    <a:pt x="332198" y="12103"/>
                    <a:pt x="340965" y="17398"/>
                  </a:cubicBezTo>
                  <a:cubicBezTo>
                    <a:pt x="346513" y="131783"/>
                    <a:pt x="318910" y="353020"/>
                    <a:pt x="36234" y="420076"/>
                  </a:cubicBezTo>
                  <a:cubicBezTo>
                    <a:pt x="21987" y="383294"/>
                    <a:pt x="10000" y="346719"/>
                    <a:pt x="0" y="310485"/>
                  </a:cubicBezTo>
                  <a:cubicBezTo>
                    <a:pt x="83495" y="305280"/>
                    <a:pt x="221785" y="254114"/>
                    <a:pt x="314663" y="0"/>
                  </a:cubicBezTo>
                  <a:close/>
                </a:path>
              </a:pathLst>
            </a:custGeom>
            <a:solidFill>
              <a:srgbClr val="F0E0C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67;p11">
              <a:extLst>
                <a:ext uri="{FF2B5EF4-FFF2-40B4-BE49-F238E27FC236}">
                  <a16:creationId xmlns:a16="http://schemas.microsoft.com/office/drawing/2014/main" id="{DC8F81A3-97E2-42FB-ACB2-4436C82B6B57}"/>
                </a:ext>
              </a:extLst>
            </p:cNvPr>
            <p:cNvSpPr/>
            <p:nvPr/>
          </p:nvSpPr>
          <p:spPr>
            <a:xfrm>
              <a:off x="190551" y="2976457"/>
              <a:ext cx="278498" cy="208133"/>
            </a:xfrm>
            <a:custGeom>
              <a:avLst/>
              <a:gdLst/>
              <a:ahLst/>
              <a:cxnLst/>
              <a:rect l="l" t="t" r="r" b="b"/>
              <a:pathLst>
                <a:path w="278498" h="208133" extrusionOk="0">
                  <a:moveTo>
                    <a:pt x="268977" y="0"/>
                  </a:moveTo>
                  <a:cubicBezTo>
                    <a:pt x="272128" y="4041"/>
                    <a:pt x="275347" y="7877"/>
                    <a:pt x="278498" y="11713"/>
                  </a:cubicBezTo>
                  <a:cubicBezTo>
                    <a:pt x="243703" y="89522"/>
                    <a:pt x="161099" y="221785"/>
                    <a:pt x="5754" y="206990"/>
                  </a:cubicBezTo>
                  <a:cubicBezTo>
                    <a:pt x="3082" y="182812"/>
                    <a:pt x="1233" y="159044"/>
                    <a:pt x="0" y="136441"/>
                  </a:cubicBezTo>
                  <a:cubicBezTo>
                    <a:pt x="77399" y="146578"/>
                    <a:pt x="174661" y="122947"/>
                    <a:pt x="268977" y="0"/>
                  </a:cubicBezTo>
                  <a:close/>
                </a:path>
              </a:pathLst>
            </a:custGeom>
            <a:solidFill>
              <a:srgbClr val="F0E0C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68;p11">
              <a:extLst>
                <a:ext uri="{FF2B5EF4-FFF2-40B4-BE49-F238E27FC236}">
                  <a16:creationId xmlns:a16="http://schemas.microsoft.com/office/drawing/2014/main" id="{85B8D5DD-B1B7-4627-BD3E-6066338DAF02}"/>
                </a:ext>
              </a:extLst>
            </p:cNvPr>
            <p:cNvSpPr/>
            <p:nvPr/>
          </p:nvSpPr>
          <p:spPr>
            <a:xfrm>
              <a:off x="324756" y="2881337"/>
              <a:ext cx="606150" cy="548531"/>
            </a:xfrm>
            <a:custGeom>
              <a:avLst/>
              <a:gdLst/>
              <a:ahLst/>
              <a:cxnLst/>
              <a:rect l="l" t="t" r="r" b="b"/>
              <a:pathLst>
                <a:path w="606150" h="548531" extrusionOk="0">
                  <a:moveTo>
                    <a:pt x="562383" y="373549"/>
                  </a:moveTo>
                  <a:cubicBezTo>
                    <a:pt x="584328" y="429769"/>
                    <a:pt x="599041" y="488551"/>
                    <a:pt x="606151" y="548483"/>
                  </a:cubicBezTo>
                  <a:cubicBezTo>
                    <a:pt x="336009" y="552525"/>
                    <a:pt x="41483" y="299095"/>
                    <a:pt x="3811" y="72447"/>
                  </a:cubicBezTo>
                  <a:cubicBezTo>
                    <a:pt x="-14066" y="-35089"/>
                    <a:pt x="35524" y="-3855"/>
                    <a:pt x="57921" y="44433"/>
                  </a:cubicBezTo>
                  <a:cubicBezTo>
                    <a:pt x="192170" y="333343"/>
                    <a:pt x="455052" y="356905"/>
                    <a:pt x="562383" y="373549"/>
                  </a:cubicBezTo>
                  <a:close/>
                </a:path>
              </a:pathLst>
            </a:custGeom>
            <a:solidFill>
              <a:srgbClr val="FFFFFF">
                <a:alpha val="5475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20" name="Google Shape;90;p12">
            <a:extLst>
              <a:ext uri="{FF2B5EF4-FFF2-40B4-BE49-F238E27FC236}">
                <a16:creationId xmlns:a16="http://schemas.microsoft.com/office/drawing/2014/main" id="{7304DBC2-E143-4AE7-A746-63988F26F311}"/>
              </a:ext>
            </a:extLst>
          </p:cNvPr>
          <p:cNvGrpSpPr/>
          <p:nvPr/>
        </p:nvGrpSpPr>
        <p:grpSpPr>
          <a:xfrm>
            <a:off x="6572926" y="603404"/>
            <a:ext cx="676734" cy="678124"/>
            <a:chOff x="2893887" y="2547824"/>
            <a:chExt cx="1212350" cy="1214840"/>
          </a:xfrm>
        </p:grpSpPr>
        <p:sp>
          <p:nvSpPr>
            <p:cNvPr id="121" name="Google Shape;91;p12">
              <a:extLst>
                <a:ext uri="{FF2B5EF4-FFF2-40B4-BE49-F238E27FC236}">
                  <a16:creationId xmlns:a16="http://schemas.microsoft.com/office/drawing/2014/main" id="{31237868-7F6E-488C-A234-C9ACBB7A4B09}"/>
                </a:ext>
              </a:extLst>
            </p:cNvPr>
            <p:cNvSpPr/>
            <p:nvPr/>
          </p:nvSpPr>
          <p:spPr>
            <a:xfrm>
              <a:off x="2893887" y="2547824"/>
              <a:ext cx="1212350" cy="1214840"/>
            </a:xfrm>
            <a:custGeom>
              <a:avLst/>
              <a:gdLst/>
              <a:ahLst/>
              <a:cxnLst/>
              <a:rect l="l" t="t" r="r" b="b"/>
              <a:pathLst>
                <a:path w="1212350" h="1214840" extrusionOk="0">
                  <a:moveTo>
                    <a:pt x="0" y="1070973"/>
                  </a:moveTo>
                  <a:cubicBezTo>
                    <a:pt x="0" y="1070973"/>
                    <a:pt x="650697" y="1447692"/>
                    <a:pt x="1212351" y="981930"/>
                  </a:cubicBezTo>
                  <a:lnTo>
                    <a:pt x="549325" y="40612"/>
                  </a:lnTo>
                  <a:cubicBezTo>
                    <a:pt x="518790" y="-2656"/>
                    <a:pt x="458960" y="-12985"/>
                    <a:pt x="415686" y="17550"/>
                  </a:cubicBezTo>
                  <a:cubicBezTo>
                    <a:pt x="400062" y="28578"/>
                    <a:pt x="388089" y="44030"/>
                    <a:pt x="381308" y="61914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92;p12">
              <a:extLst>
                <a:ext uri="{FF2B5EF4-FFF2-40B4-BE49-F238E27FC236}">
                  <a16:creationId xmlns:a16="http://schemas.microsoft.com/office/drawing/2014/main" id="{A9167091-5506-4E8B-9D0C-DE53291AA9B1}"/>
                </a:ext>
              </a:extLst>
            </p:cNvPr>
            <p:cNvSpPr/>
            <p:nvPr/>
          </p:nvSpPr>
          <p:spPr>
            <a:xfrm>
              <a:off x="2996697" y="3186871"/>
              <a:ext cx="951250" cy="244546"/>
            </a:xfrm>
            <a:custGeom>
              <a:avLst/>
              <a:gdLst/>
              <a:ahLst/>
              <a:cxnLst/>
              <a:rect l="l" t="t" r="r" b="b"/>
              <a:pathLst>
                <a:path w="951250" h="244546" extrusionOk="0">
                  <a:moveTo>
                    <a:pt x="43357" y="45138"/>
                  </a:moveTo>
                  <a:lnTo>
                    <a:pt x="0" y="159934"/>
                  </a:lnTo>
                  <a:cubicBezTo>
                    <a:pt x="152674" y="234319"/>
                    <a:pt x="473639" y="323156"/>
                    <a:pt x="951250" y="118221"/>
                  </a:cubicBezTo>
                  <a:lnTo>
                    <a:pt x="867961" y="0"/>
                  </a:lnTo>
                  <a:cubicBezTo>
                    <a:pt x="691177" y="94111"/>
                    <a:pt x="402815" y="180483"/>
                    <a:pt x="43357" y="45138"/>
                  </a:cubicBezTo>
                  <a:close/>
                </a:path>
              </a:pathLst>
            </a:custGeom>
            <a:solidFill>
              <a:srgbClr val="34365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93;p12">
              <a:extLst>
                <a:ext uri="{FF2B5EF4-FFF2-40B4-BE49-F238E27FC236}">
                  <a16:creationId xmlns:a16="http://schemas.microsoft.com/office/drawing/2014/main" id="{2F6B78B8-141B-4665-A366-9B10EC29C94B}"/>
                </a:ext>
              </a:extLst>
            </p:cNvPr>
            <p:cNvSpPr/>
            <p:nvPr/>
          </p:nvSpPr>
          <p:spPr>
            <a:xfrm>
              <a:off x="3140056" y="2892620"/>
              <a:ext cx="568503" cy="125416"/>
            </a:xfrm>
            <a:custGeom>
              <a:avLst/>
              <a:gdLst/>
              <a:ahLst/>
              <a:cxnLst/>
              <a:rect l="l" t="t" r="r" b="b"/>
              <a:pathLst>
                <a:path w="568503" h="125416" extrusionOk="0">
                  <a:moveTo>
                    <a:pt x="27398" y="2123"/>
                  </a:moveTo>
                  <a:lnTo>
                    <a:pt x="0" y="74179"/>
                  </a:lnTo>
                  <a:cubicBezTo>
                    <a:pt x="118016" y="119317"/>
                    <a:pt x="322540" y="163222"/>
                    <a:pt x="568503" y="72261"/>
                  </a:cubicBezTo>
                  <a:lnTo>
                    <a:pt x="517544" y="0"/>
                  </a:lnTo>
                  <a:cubicBezTo>
                    <a:pt x="405281" y="47467"/>
                    <a:pt x="236717" y="79796"/>
                    <a:pt x="27398" y="2123"/>
                  </a:cubicBezTo>
                  <a:close/>
                </a:path>
              </a:pathLst>
            </a:custGeom>
            <a:solidFill>
              <a:srgbClr val="34365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94;p12">
              <a:extLst>
                <a:ext uri="{FF2B5EF4-FFF2-40B4-BE49-F238E27FC236}">
                  <a16:creationId xmlns:a16="http://schemas.microsoft.com/office/drawing/2014/main" id="{D56A9069-5F04-47BB-B504-A9735639A5DF}"/>
                </a:ext>
              </a:extLst>
            </p:cNvPr>
            <p:cNvSpPr/>
            <p:nvPr/>
          </p:nvSpPr>
          <p:spPr>
            <a:xfrm>
              <a:off x="3404162" y="2647161"/>
              <a:ext cx="524058" cy="1084446"/>
            </a:xfrm>
            <a:custGeom>
              <a:avLst/>
              <a:gdLst/>
              <a:ahLst/>
              <a:cxnLst/>
              <a:rect l="l" t="t" r="r" b="b"/>
              <a:pathLst>
                <a:path w="524058" h="1084446" extrusionOk="0">
                  <a:moveTo>
                    <a:pt x="524059" y="1002185"/>
                  </a:moveTo>
                  <a:lnTo>
                    <a:pt x="18570" y="4084"/>
                  </a:lnTo>
                  <a:cubicBezTo>
                    <a:pt x="13844" y="-5299"/>
                    <a:pt x="-2595" y="3057"/>
                    <a:pt x="351" y="13331"/>
                  </a:cubicBezTo>
                  <a:lnTo>
                    <a:pt x="311452" y="1084446"/>
                  </a:lnTo>
                  <a:cubicBezTo>
                    <a:pt x="385337" y="1065562"/>
                    <a:pt x="456708" y="1037952"/>
                    <a:pt x="524059" y="1002185"/>
                  </a:cubicBezTo>
                  <a:close/>
                </a:path>
              </a:pathLst>
            </a:custGeom>
            <a:solidFill>
              <a:srgbClr val="FFFFFF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00507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/>
            </a:gs>
            <a:gs pos="100000">
              <a:srgbClr val="BBFF45"/>
            </a:gs>
          </a:gsLst>
          <a:lin ang="0" scaled="0"/>
        </a:gradFill>
        <a:effectLst/>
      </p:bgPr>
    </p:bg>
    <p:spTree>
      <p:nvGrpSpPr>
        <p:cNvPr id="1" name="Shape 7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8069C6-F173-42F7-940A-7B7E76E803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8877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5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" name="Google Shape;717;p34"/>
          <p:cNvSpPr txBox="1">
            <a:spLocks noGrp="1"/>
          </p:cNvSpPr>
          <p:nvPr>
            <p:ph type="title"/>
          </p:nvPr>
        </p:nvSpPr>
        <p:spPr>
          <a:xfrm>
            <a:off x="964541" y="1590368"/>
            <a:ext cx="4670783" cy="1250981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400" dirty="0" err="1"/>
              <a:t>Prueba</a:t>
            </a:r>
            <a:r>
              <a:rPr lang="en-US" sz="5400" dirty="0"/>
              <a:t> </a:t>
            </a:r>
            <a:r>
              <a:rPr lang="en-US" sz="5400" dirty="0" err="1"/>
              <a:t>tus</a:t>
            </a:r>
            <a:r>
              <a:rPr lang="en-US" sz="5400" dirty="0"/>
              <a:t> </a:t>
            </a:r>
            <a:r>
              <a:rPr lang="en-US" sz="5400" dirty="0" err="1"/>
              <a:t>habilidades</a:t>
            </a:r>
            <a:r>
              <a:rPr lang="en-US" sz="5400" dirty="0"/>
              <a:t> !</a:t>
            </a:r>
            <a:endParaRPr sz="5400" dirty="0"/>
          </a:p>
        </p:txBody>
      </p:sp>
      <p:sp>
        <p:nvSpPr>
          <p:cNvPr id="30" name="Google Shape;748;p35">
            <a:extLst>
              <a:ext uri="{FF2B5EF4-FFF2-40B4-BE49-F238E27FC236}">
                <a16:creationId xmlns:a16="http://schemas.microsoft.com/office/drawing/2014/main" id="{FBB17AEC-563B-4115-9C49-008757AF095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038293" y="3775966"/>
            <a:ext cx="4670783" cy="599147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3200" dirty="0"/>
              <a:t>Por Jose Maria y Marian</a:t>
            </a:r>
            <a:endParaRPr sz="3200" dirty="0"/>
          </a:p>
        </p:txBody>
      </p:sp>
      <p:sp>
        <p:nvSpPr>
          <p:cNvPr id="719" name="Google Shape;719;p34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6</a:t>
            </a:fld>
            <a:endParaRPr/>
          </a:p>
        </p:txBody>
      </p:sp>
      <p:grpSp>
        <p:nvGrpSpPr>
          <p:cNvPr id="31" name="Google Shape;47;p11">
            <a:extLst>
              <a:ext uri="{FF2B5EF4-FFF2-40B4-BE49-F238E27FC236}">
                <a16:creationId xmlns:a16="http://schemas.microsoft.com/office/drawing/2014/main" id="{64842F5E-2608-4BFA-B474-5C3B03B5BF49}"/>
              </a:ext>
            </a:extLst>
          </p:cNvPr>
          <p:cNvGrpSpPr/>
          <p:nvPr/>
        </p:nvGrpSpPr>
        <p:grpSpPr>
          <a:xfrm>
            <a:off x="6050802" y="1144511"/>
            <a:ext cx="1837957" cy="1427239"/>
            <a:chOff x="2860826" y="401530"/>
            <a:chExt cx="2115269" cy="1642581"/>
          </a:xfrm>
        </p:grpSpPr>
        <p:sp>
          <p:nvSpPr>
            <p:cNvPr id="32" name="Google Shape;48;p11">
              <a:extLst>
                <a:ext uri="{FF2B5EF4-FFF2-40B4-BE49-F238E27FC236}">
                  <a16:creationId xmlns:a16="http://schemas.microsoft.com/office/drawing/2014/main" id="{471B76CD-860E-4679-9E34-ACAC9D64F4D3}"/>
                </a:ext>
              </a:extLst>
            </p:cNvPr>
            <p:cNvSpPr/>
            <p:nvPr/>
          </p:nvSpPr>
          <p:spPr>
            <a:xfrm>
              <a:off x="2860826" y="401530"/>
              <a:ext cx="2115269" cy="1642581"/>
            </a:xfrm>
            <a:custGeom>
              <a:avLst/>
              <a:gdLst/>
              <a:ahLst/>
              <a:cxnLst/>
              <a:rect l="l" t="t" r="r" b="b"/>
              <a:pathLst>
                <a:path w="2115269" h="1642581" extrusionOk="0">
                  <a:moveTo>
                    <a:pt x="245052" y="1642582"/>
                  </a:moveTo>
                  <a:cubicBezTo>
                    <a:pt x="509714" y="1619636"/>
                    <a:pt x="782253" y="1607649"/>
                    <a:pt x="1060477" y="1607649"/>
                  </a:cubicBezTo>
                  <a:cubicBezTo>
                    <a:pt x="1331715" y="1607649"/>
                    <a:pt x="1597541" y="1619088"/>
                    <a:pt x="1855902" y="1640869"/>
                  </a:cubicBezTo>
                  <a:cubicBezTo>
                    <a:pt x="1868690" y="1627170"/>
                    <a:pt x="1881060" y="1612992"/>
                    <a:pt x="1893026" y="1598334"/>
                  </a:cubicBezTo>
                  <a:cubicBezTo>
                    <a:pt x="1980028" y="1493928"/>
                    <a:pt x="2044145" y="1372426"/>
                    <a:pt x="2081249" y="1241684"/>
                  </a:cubicBezTo>
                  <a:cubicBezTo>
                    <a:pt x="2119756" y="1105894"/>
                    <a:pt x="2125668" y="962926"/>
                    <a:pt x="2098509" y="824416"/>
                  </a:cubicBezTo>
                  <a:cubicBezTo>
                    <a:pt x="2049057" y="569754"/>
                    <a:pt x="1935630" y="368312"/>
                    <a:pt x="1761449" y="225501"/>
                  </a:cubicBezTo>
                  <a:cubicBezTo>
                    <a:pt x="1578980" y="75910"/>
                    <a:pt x="1339797" y="18"/>
                    <a:pt x="1050682" y="18"/>
                  </a:cubicBezTo>
                  <a:cubicBezTo>
                    <a:pt x="903988" y="-836"/>
                    <a:pt x="758732" y="28980"/>
                    <a:pt x="624236" y="87554"/>
                  </a:cubicBezTo>
                  <a:cubicBezTo>
                    <a:pt x="501508" y="141599"/>
                    <a:pt x="390609" y="219263"/>
                    <a:pt x="297861" y="316119"/>
                  </a:cubicBezTo>
                  <a:cubicBezTo>
                    <a:pt x="101419" y="520575"/>
                    <a:pt x="-9679" y="802772"/>
                    <a:pt x="663" y="1071749"/>
                  </a:cubicBezTo>
                  <a:cubicBezTo>
                    <a:pt x="9088" y="1284356"/>
                    <a:pt x="94775" y="1483332"/>
                    <a:pt x="245052" y="1642582"/>
                  </a:cubicBezTo>
                  <a:close/>
                </a:path>
              </a:pathLst>
            </a:custGeom>
            <a:solidFill>
              <a:srgbClr val="09052E">
                <a:alpha val="1173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Google Shape;49;p11">
              <a:extLst>
                <a:ext uri="{FF2B5EF4-FFF2-40B4-BE49-F238E27FC236}">
                  <a16:creationId xmlns:a16="http://schemas.microsoft.com/office/drawing/2014/main" id="{AD8152C0-C1F7-42DB-B3AD-4ED4CCABF696}"/>
                </a:ext>
              </a:extLst>
            </p:cNvPr>
            <p:cNvSpPr/>
            <p:nvPr/>
          </p:nvSpPr>
          <p:spPr>
            <a:xfrm>
              <a:off x="2983792" y="475316"/>
              <a:ext cx="1869056" cy="1552082"/>
            </a:xfrm>
            <a:custGeom>
              <a:avLst/>
              <a:gdLst/>
              <a:ahLst/>
              <a:cxnLst/>
              <a:rect l="l" t="t" r="r" b="b"/>
              <a:pathLst>
                <a:path w="1869056" h="1552082" extrusionOk="0">
                  <a:moveTo>
                    <a:pt x="347020" y="1552083"/>
                  </a:moveTo>
                  <a:cubicBezTo>
                    <a:pt x="540360" y="1540028"/>
                    <a:pt x="737185" y="1533952"/>
                    <a:pt x="937510" y="1533863"/>
                  </a:cubicBezTo>
                  <a:cubicBezTo>
                    <a:pt x="1132446" y="1533863"/>
                    <a:pt x="1324230" y="1539637"/>
                    <a:pt x="1512863" y="1551192"/>
                  </a:cubicBezTo>
                  <a:cubicBezTo>
                    <a:pt x="1766292" y="1362285"/>
                    <a:pt x="1918076" y="1051183"/>
                    <a:pt x="1854650" y="724876"/>
                  </a:cubicBezTo>
                  <a:cubicBezTo>
                    <a:pt x="1769717" y="285279"/>
                    <a:pt x="1464506" y="0"/>
                    <a:pt x="927716" y="0"/>
                  </a:cubicBezTo>
                  <a:cubicBezTo>
                    <a:pt x="337774" y="0"/>
                    <a:pt x="-16274" y="505694"/>
                    <a:pt x="576" y="943990"/>
                  </a:cubicBezTo>
                  <a:cubicBezTo>
                    <a:pt x="10028" y="1188583"/>
                    <a:pt x="140167" y="1406875"/>
                    <a:pt x="347020" y="155208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50;p11">
              <a:extLst>
                <a:ext uri="{FF2B5EF4-FFF2-40B4-BE49-F238E27FC236}">
                  <a16:creationId xmlns:a16="http://schemas.microsoft.com/office/drawing/2014/main" id="{1FBBF2E9-2913-45B4-8B60-4942CB3C1ED9}"/>
                </a:ext>
              </a:extLst>
            </p:cNvPr>
            <p:cNvSpPr/>
            <p:nvPr/>
          </p:nvSpPr>
          <p:spPr>
            <a:xfrm>
              <a:off x="3539074" y="964575"/>
              <a:ext cx="758060" cy="758156"/>
            </a:xfrm>
            <a:custGeom>
              <a:avLst/>
              <a:gdLst/>
              <a:ahLst/>
              <a:cxnLst/>
              <a:rect l="l" t="t" r="r" b="b"/>
              <a:pathLst>
                <a:path w="758060" h="758156" extrusionOk="0">
                  <a:moveTo>
                    <a:pt x="724496" y="223151"/>
                  </a:moveTo>
                  <a:cubicBezTo>
                    <a:pt x="687310" y="294289"/>
                    <a:pt x="599493" y="321817"/>
                    <a:pt x="528355" y="284631"/>
                  </a:cubicBezTo>
                  <a:cubicBezTo>
                    <a:pt x="457217" y="247446"/>
                    <a:pt x="429689" y="159629"/>
                    <a:pt x="466875" y="88491"/>
                  </a:cubicBezTo>
                  <a:cubicBezTo>
                    <a:pt x="479923" y="63532"/>
                    <a:pt x="499937" y="42901"/>
                    <a:pt x="524492" y="29106"/>
                  </a:cubicBezTo>
                  <a:cubicBezTo>
                    <a:pt x="331208" y="-51203"/>
                    <a:pt x="109416" y="40382"/>
                    <a:pt x="29107" y="233665"/>
                  </a:cubicBezTo>
                  <a:cubicBezTo>
                    <a:pt x="-51203" y="426949"/>
                    <a:pt x="40381" y="648740"/>
                    <a:pt x="233665" y="729050"/>
                  </a:cubicBezTo>
                  <a:cubicBezTo>
                    <a:pt x="426949" y="809360"/>
                    <a:pt x="648741" y="717776"/>
                    <a:pt x="729051" y="524492"/>
                  </a:cubicBezTo>
                  <a:cubicBezTo>
                    <a:pt x="769257" y="427730"/>
                    <a:pt x="767606" y="318645"/>
                    <a:pt x="724496" y="223151"/>
                  </a:cubicBezTo>
                  <a:close/>
                </a:path>
              </a:pathLst>
            </a:custGeom>
            <a:gradFill>
              <a:gsLst>
                <a:gs pos="0">
                  <a:schemeClr val="accent5"/>
                </a:gs>
                <a:gs pos="100000">
                  <a:srgbClr val="FF4D82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51;p11">
              <a:extLst>
                <a:ext uri="{FF2B5EF4-FFF2-40B4-BE49-F238E27FC236}">
                  <a16:creationId xmlns:a16="http://schemas.microsoft.com/office/drawing/2014/main" id="{F9DD1283-CF8B-487B-9E1D-283AFE3138CD}"/>
                </a:ext>
              </a:extLst>
            </p:cNvPr>
            <p:cNvSpPr/>
            <p:nvPr/>
          </p:nvSpPr>
          <p:spPr>
            <a:xfrm>
              <a:off x="3712949" y="1137272"/>
              <a:ext cx="411706" cy="411763"/>
            </a:xfrm>
            <a:custGeom>
              <a:avLst/>
              <a:gdLst/>
              <a:ahLst/>
              <a:cxnLst/>
              <a:rect l="l" t="t" r="r" b="b"/>
              <a:pathLst>
                <a:path w="411706" h="411763" extrusionOk="0">
                  <a:moveTo>
                    <a:pt x="279862" y="13810"/>
                  </a:moveTo>
                  <a:cubicBezTo>
                    <a:pt x="173784" y="-27047"/>
                    <a:pt x="54666" y="25824"/>
                    <a:pt x="13809" y="131901"/>
                  </a:cubicBezTo>
                  <a:cubicBezTo>
                    <a:pt x="-27048" y="237978"/>
                    <a:pt x="25830" y="357097"/>
                    <a:pt x="131907" y="397954"/>
                  </a:cubicBezTo>
                  <a:cubicBezTo>
                    <a:pt x="237984" y="438811"/>
                    <a:pt x="357096" y="385940"/>
                    <a:pt x="397953" y="279863"/>
                  </a:cubicBezTo>
                  <a:cubicBezTo>
                    <a:pt x="417090" y="230170"/>
                    <a:pt x="416227" y="174998"/>
                    <a:pt x="395549" y="125935"/>
                  </a:cubicBezTo>
                  <a:cubicBezTo>
                    <a:pt x="337897" y="115325"/>
                    <a:pt x="292273" y="71105"/>
                    <a:pt x="279862" y="1381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52;p11">
              <a:extLst>
                <a:ext uri="{FF2B5EF4-FFF2-40B4-BE49-F238E27FC236}">
                  <a16:creationId xmlns:a16="http://schemas.microsoft.com/office/drawing/2014/main" id="{F0F32AC0-4FE7-4A05-A65C-43FAD011BBC2}"/>
                </a:ext>
              </a:extLst>
            </p:cNvPr>
            <p:cNvSpPr/>
            <p:nvPr/>
          </p:nvSpPr>
          <p:spPr>
            <a:xfrm>
              <a:off x="2983798" y="1299235"/>
              <a:ext cx="1868927" cy="728163"/>
            </a:xfrm>
            <a:custGeom>
              <a:avLst/>
              <a:gdLst/>
              <a:ahLst/>
              <a:cxnLst/>
              <a:rect l="l" t="t" r="r" b="b"/>
              <a:pathLst>
                <a:path w="1868927" h="728163" extrusionOk="0">
                  <a:moveTo>
                    <a:pt x="347015" y="728164"/>
                  </a:moveTo>
                  <a:cubicBezTo>
                    <a:pt x="540354" y="716109"/>
                    <a:pt x="737179" y="710033"/>
                    <a:pt x="937505" y="709944"/>
                  </a:cubicBezTo>
                  <a:cubicBezTo>
                    <a:pt x="1132440" y="709944"/>
                    <a:pt x="1324224" y="715718"/>
                    <a:pt x="1512858" y="727273"/>
                  </a:cubicBezTo>
                  <a:cubicBezTo>
                    <a:pt x="1740396" y="557613"/>
                    <a:pt x="1886015" y="289457"/>
                    <a:pt x="1867316" y="0"/>
                  </a:cubicBezTo>
                  <a:cubicBezTo>
                    <a:pt x="1727793" y="347404"/>
                    <a:pt x="1367307" y="603915"/>
                    <a:pt x="963190" y="603915"/>
                  </a:cubicBezTo>
                  <a:cubicBezTo>
                    <a:pt x="507292" y="603915"/>
                    <a:pt x="141943" y="366308"/>
                    <a:pt x="1940" y="34795"/>
                  </a:cubicBezTo>
                  <a:cubicBezTo>
                    <a:pt x="-53" y="63172"/>
                    <a:pt x="-512" y="91639"/>
                    <a:pt x="570" y="120071"/>
                  </a:cubicBezTo>
                  <a:cubicBezTo>
                    <a:pt x="10022" y="364664"/>
                    <a:pt x="140162" y="582956"/>
                    <a:pt x="347015" y="728164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37" name="Google Shape;53;p11">
            <a:extLst>
              <a:ext uri="{FF2B5EF4-FFF2-40B4-BE49-F238E27FC236}">
                <a16:creationId xmlns:a16="http://schemas.microsoft.com/office/drawing/2014/main" id="{6458F038-C97B-4E98-A9A6-8C3F6DEB2757}"/>
              </a:ext>
            </a:extLst>
          </p:cNvPr>
          <p:cNvGrpSpPr/>
          <p:nvPr/>
        </p:nvGrpSpPr>
        <p:grpSpPr>
          <a:xfrm>
            <a:off x="5589502" y="2262508"/>
            <a:ext cx="2760511" cy="1383992"/>
            <a:chOff x="2819969" y="4365386"/>
            <a:chExt cx="1694813" cy="849700"/>
          </a:xfrm>
        </p:grpSpPr>
        <p:sp>
          <p:nvSpPr>
            <p:cNvPr id="38" name="Google Shape;54;p11">
              <a:extLst>
                <a:ext uri="{FF2B5EF4-FFF2-40B4-BE49-F238E27FC236}">
                  <a16:creationId xmlns:a16="http://schemas.microsoft.com/office/drawing/2014/main" id="{6B815FA5-BA0F-43DF-B2F0-FC4BB857F657}"/>
                </a:ext>
              </a:extLst>
            </p:cNvPr>
            <p:cNvSpPr/>
            <p:nvPr/>
          </p:nvSpPr>
          <p:spPr>
            <a:xfrm>
              <a:off x="2819969" y="4365386"/>
              <a:ext cx="1694813" cy="767412"/>
            </a:xfrm>
            <a:custGeom>
              <a:avLst/>
              <a:gdLst/>
              <a:ahLst/>
              <a:cxnLst/>
              <a:rect l="l" t="t" r="r" b="b"/>
              <a:pathLst>
                <a:path w="1694813" h="767412" extrusionOk="0">
                  <a:moveTo>
                    <a:pt x="1693331" y="0"/>
                  </a:moveTo>
                  <a:cubicBezTo>
                    <a:pt x="1724222" y="449254"/>
                    <a:pt x="1266748" y="778027"/>
                    <a:pt x="847425" y="767137"/>
                  </a:cubicBezTo>
                  <a:cubicBezTo>
                    <a:pt x="428171" y="778302"/>
                    <a:pt x="-29782" y="449254"/>
                    <a:pt x="1520" y="0"/>
                  </a:cubicBezTo>
                  <a:cubicBezTo>
                    <a:pt x="92960" y="926660"/>
                    <a:pt x="1602234" y="926660"/>
                    <a:pt x="1693331" y="0"/>
                  </a:cubicBezTo>
                  <a:close/>
                </a:path>
              </a:pathLst>
            </a:custGeom>
            <a:solidFill>
              <a:srgbClr val="85200C"/>
            </a:solidFill>
            <a:ln>
              <a:noFill/>
            </a:ln>
            <a:effectLst>
              <a:outerShdw blurRad="28575" dist="38100" dir="5400000" algn="bl" rotWithShape="0">
                <a:schemeClr val="dk1">
                  <a:alpha val="20000"/>
                </a:scheme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55;p11">
              <a:extLst>
                <a:ext uri="{FF2B5EF4-FFF2-40B4-BE49-F238E27FC236}">
                  <a16:creationId xmlns:a16="http://schemas.microsoft.com/office/drawing/2014/main" id="{44F22646-FEFB-491A-9A98-188D73351BA7}"/>
                </a:ext>
              </a:extLst>
            </p:cNvPr>
            <p:cNvSpPr/>
            <p:nvPr/>
          </p:nvSpPr>
          <p:spPr>
            <a:xfrm>
              <a:off x="4100210" y="4889162"/>
              <a:ext cx="195071" cy="325922"/>
            </a:xfrm>
            <a:custGeom>
              <a:avLst/>
              <a:gdLst/>
              <a:ahLst/>
              <a:cxnLst/>
              <a:rect l="l" t="t" r="r" b="b"/>
              <a:pathLst>
                <a:path w="195071" h="325922" extrusionOk="0">
                  <a:moveTo>
                    <a:pt x="0" y="138701"/>
                  </a:moveTo>
                  <a:cubicBezTo>
                    <a:pt x="10069" y="227196"/>
                    <a:pt x="32330" y="318567"/>
                    <a:pt x="80892" y="325554"/>
                  </a:cubicBezTo>
                  <a:cubicBezTo>
                    <a:pt x="160140" y="336787"/>
                    <a:pt x="187538" y="88426"/>
                    <a:pt x="195072" y="0"/>
                  </a:cubicBezTo>
                  <a:cubicBezTo>
                    <a:pt x="136660" y="54898"/>
                    <a:pt x="71036" y="101557"/>
                    <a:pt x="0" y="138701"/>
                  </a:cubicBezTo>
                  <a:close/>
                </a:path>
              </a:pathLst>
            </a:custGeom>
            <a:gradFill>
              <a:gsLst>
                <a:gs pos="0">
                  <a:srgbClr val="F0E0C7"/>
                </a:gs>
                <a:gs pos="50000">
                  <a:srgbClr val="F8F1E4"/>
                </a:gs>
                <a:gs pos="100000">
                  <a:schemeClr val="lt1"/>
                </a:gs>
              </a:gsLst>
              <a:lin ang="5400012" scaled="0"/>
            </a:gradFill>
            <a:ln>
              <a:noFill/>
            </a:ln>
            <a:effectLst>
              <a:outerShdw blurRad="14288" dist="28575" dir="5400000" algn="bl" rotWithShape="0">
                <a:schemeClr val="dk1">
                  <a:alpha val="30000"/>
                </a:scheme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56;p11">
              <a:extLst>
                <a:ext uri="{FF2B5EF4-FFF2-40B4-BE49-F238E27FC236}">
                  <a16:creationId xmlns:a16="http://schemas.microsoft.com/office/drawing/2014/main" id="{DE6435D3-D7AB-463E-9E8B-27687194B5E1}"/>
                </a:ext>
              </a:extLst>
            </p:cNvPr>
            <p:cNvSpPr/>
            <p:nvPr/>
          </p:nvSpPr>
          <p:spPr>
            <a:xfrm>
              <a:off x="3037246" y="4887244"/>
              <a:ext cx="186715" cy="327842"/>
            </a:xfrm>
            <a:custGeom>
              <a:avLst/>
              <a:gdLst/>
              <a:ahLst/>
              <a:cxnLst/>
              <a:rect l="l" t="t" r="r" b="b"/>
              <a:pathLst>
                <a:path w="186715" h="327842" extrusionOk="0">
                  <a:moveTo>
                    <a:pt x="0" y="0"/>
                  </a:moveTo>
                  <a:cubicBezTo>
                    <a:pt x="822" y="82672"/>
                    <a:pt x="10206" y="316170"/>
                    <a:pt x="89043" y="327472"/>
                  </a:cubicBezTo>
                  <a:cubicBezTo>
                    <a:pt x="140413" y="334801"/>
                    <a:pt x="170140" y="232127"/>
                    <a:pt x="186716" y="135139"/>
                  </a:cubicBezTo>
                  <a:cubicBezTo>
                    <a:pt x="118797" y="98508"/>
                    <a:pt x="56015" y="53069"/>
                    <a:pt x="0" y="0"/>
                  </a:cubicBezTo>
                  <a:close/>
                </a:path>
              </a:pathLst>
            </a:custGeom>
            <a:gradFill>
              <a:gsLst>
                <a:gs pos="0">
                  <a:srgbClr val="F0E0C7"/>
                </a:gs>
                <a:gs pos="50000">
                  <a:srgbClr val="F8F1E4"/>
                </a:gs>
                <a:gs pos="100000">
                  <a:schemeClr val="lt1"/>
                </a:gs>
              </a:gsLst>
              <a:lin ang="5400012" scaled="0"/>
            </a:gradFill>
            <a:ln>
              <a:noFill/>
            </a:ln>
            <a:effectLst>
              <a:outerShdw blurRad="14288" dist="28575" dir="5400000" algn="bl" rotWithShape="0">
                <a:schemeClr val="dk1">
                  <a:alpha val="30000"/>
                </a:scheme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41" name="Google Shape;57;p11">
            <a:extLst>
              <a:ext uri="{FF2B5EF4-FFF2-40B4-BE49-F238E27FC236}">
                <a16:creationId xmlns:a16="http://schemas.microsoft.com/office/drawing/2014/main" id="{FC85003E-43AF-4176-8F30-CB69A31EDB0C}"/>
              </a:ext>
            </a:extLst>
          </p:cNvPr>
          <p:cNvGrpSpPr/>
          <p:nvPr/>
        </p:nvGrpSpPr>
        <p:grpSpPr>
          <a:xfrm>
            <a:off x="7884033" y="535398"/>
            <a:ext cx="635108" cy="1001050"/>
            <a:chOff x="1620532" y="2740711"/>
            <a:chExt cx="745257" cy="1174666"/>
          </a:xfrm>
        </p:grpSpPr>
        <p:sp>
          <p:nvSpPr>
            <p:cNvPr id="42" name="Google Shape;58;p11">
              <a:extLst>
                <a:ext uri="{FF2B5EF4-FFF2-40B4-BE49-F238E27FC236}">
                  <a16:creationId xmlns:a16="http://schemas.microsoft.com/office/drawing/2014/main" id="{1C173BCC-ECDC-440A-AF09-1CB48E3114C6}"/>
                </a:ext>
              </a:extLst>
            </p:cNvPr>
            <p:cNvSpPr/>
            <p:nvPr/>
          </p:nvSpPr>
          <p:spPr>
            <a:xfrm>
              <a:off x="1620532" y="2740711"/>
              <a:ext cx="745257" cy="1174666"/>
            </a:xfrm>
            <a:custGeom>
              <a:avLst/>
              <a:gdLst/>
              <a:ahLst/>
              <a:cxnLst/>
              <a:rect l="l" t="t" r="r" b="b"/>
              <a:pathLst>
                <a:path w="745257" h="1174666" extrusionOk="0">
                  <a:moveTo>
                    <a:pt x="105526" y="385886"/>
                  </a:moveTo>
                  <a:cubicBezTo>
                    <a:pt x="105526" y="385886"/>
                    <a:pt x="389709" y="456640"/>
                    <a:pt x="547452" y="114511"/>
                  </a:cubicBezTo>
                  <a:cubicBezTo>
                    <a:pt x="625124" y="-53848"/>
                    <a:pt x="678481" y="-1313"/>
                    <a:pt x="704989" y="51359"/>
                  </a:cubicBezTo>
                  <a:cubicBezTo>
                    <a:pt x="763894" y="169032"/>
                    <a:pt x="825744" y="770550"/>
                    <a:pt x="360393" y="1174667"/>
                  </a:cubicBezTo>
                  <a:cubicBezTo>
                    <a:pt x="360257" y="1174598"/>
                    <a:pt x="-235850" y="1027952"/>
                    <a:pt x="105526" y="385886"/>
                  </a:cubicBezTo>
                  <a:close/>
                </a:path>
              </a:pathLst>
            </a:custGeom>
            <a:solidFill>
              <a:srgbClr val="F8F1E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59;p11">
              <a:extLst>
                <a:ext uri="{FF2B5EF4-FFF2-40B4-BE49-F238E27FC236}">
                  <a16:creationId xmlns:a16="http://schemas.microsoft.com/office/drawing/2014/main" id="{4C3D3315-FEA5-427A-8922-E838FDE691E7}"/>
                </a:ext>
              </a:extLst>
            </p:cNvPr>
            <p:cNvSpPr/>
            <p:nvPr/>
          </p:nvSpPr>
          <p:spPr>
            <a:xfrm>
              <a:off x="1763362" y="3112760"/>
              <a:ext cx="446402" cy="667683"/>
            </a:xfrm>
            <a:custGeom>
              <a:avLst/>
              <a:gdLst/>
              <a:ahLst/>
              <a:cxnLst/>
              <a:rect l="l" t="t" r="r" b="b"/>
              <a:pathLst>
                <a:path w="446402" h="667683" extrusionOk="0">
                  <a:moveTo>
                    <a:pt x="446403" y="526996"/>
                  </a:moveTo>
                  <a:cubicBezTo>
                    <a:pt x="278523" y="500214"/>
                    <a:pt x="48382" y="393843"/>
                    <a:pt x="145028" y="0"/>
                  </a:cubicBezTo>
                  <a:cubicBezTo>
                    <a:pt x="115342" y="10103"/>
                    <a:pt x="84506" y="16432"/>
                    <a:pt x="53245" y="18836"/>
                  </a:cubicBezTo>
                  <a:cubicBezTo>
                    <a:pt x="-14085" y="183222"/>
                    <a:pt x="-95456" y="533023"/>
                    <a:pt x="348456" y="667683"/>
                  </a:cubicBezTo>
                  <a:cubicBezTo>
                    <a:pt x="384785" y="623463"/>
                    <a:pt x="417539" y="576414"/>
                    <a:pt x="446403" y="526996"/>
                  </a:cubicBezTo>
                  <a:close/>
                </a:path>
              </a:pathLst>
            </a:custGeom>
            <a:solidFill>
              <a:srgbClr val="F0E0C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60;p11">
              <a:extLst>
                <a:ext uri="{FF2B5EF4-FFF2-40B4-BE49-F238E27FC236}">
                  <a16:creationId xmlns:a16="http://schemas.microsoft.com/office/drawing/2014/main" id="{81A0F2AD-FA34-4453-B02E-8F91FCB48E78}"/>
                </a:ext>
              </a:extLst>
            </p:cNvPr>
            <p:cNvSpPr/>
            <p:nvPr/>
          </p:nvSpPr>
          <p:spPr>
            <a:xfrm>
              <a:off x="1980517" y="3061527"/>
              <a:ext cx="341579" cy="420075"/>
            </a:xfrm>
            <a:custGeom>
              <a:avLst/>
              <a:gdLst/>
              <a:ahLst/>
              <a:cxnLst/>
              <a:rect l="l" t="t" r="r" b="b"/>
              <a:pathLst>
                <a:path w="341579" h="420075" extrusionOk="0">
                  <a:moveTo>
                    <a:pt x="26848" y="0"/>
                  </a:moveTo>
                  <a:cubicBezTo>
                    <a:pt x="18170" y="6301"/>
                    <a:pt x="9430" y="12103"/>
                    <a:pt x="614" y="17398"/>
                  </a:cubicBezTo>
                  <a:cubicBezTo>
                    <a:pt x="-5002" y="131783"/>
                    <a:pt x="22670" y="353020"/>
                    <a:pt x="305346" y="420076"/>
                  </a:cubicBezTo>
                  <a:cubicBezTo>
                    <a:pt x="319593" y="383294"/>
                    <a:pt x="331579" y="346719"/>
                    <a:pt x="341579" y="310485"/>
                  </a:cubicBezTo>
                  <a:cubicBezTo>
                    <a:pt x="258016" y="305280"/>
                    <a:pt x="119795" y="254114"/>
                    <a:pt x="26848" y="0"/>
                  </a:cubicBezTo>
                  <a:close/>
                </a:path>
              </a:pathLst>
            </a:custGeom>
            <a:solidFill>
              <a:srgbClr val="F0E0C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61;p11">
              <a:extLst>
                <a:ext uri="{FF2B5EF4-FFF2-40B4-BE49-F238E27FC236}">
                  <a16:creationId xmlns:a16="http://schemas.microsoft.com/office/drawing/2014/main" id="{5020CD03-7241-45D5-B3C7-23BE9F3C742C}"/>
                </a:ext>
              </a:extLst>
            </p:cNvPr>
            <p:cNvSpPr/>
            <p:nvPr/>
          </p:nvSpPr>
          <p:spPr>
            <a:xfrm>
              <a:off x="2085517" y="2976457"/>
              <a:ext cx="278498" cy="208133"/>
            </a:xfrm>
            <a:custGeom>
              <a:avLst/>
              <a:gdLst/>
              <a:ahLst/>
              <a:cxnLst/>
              <a:rect l="l" t="t" r="r" b="b"/>
              <a:pathLst>
                <a:path w="278498" h="208133" extrusionOk="0">
                  <a:moveTo>
                    <a:pt x="9521" y="0"/>
                  </a:moveTo>
                  <a:cubicBezTo>
                    <a:pt x="6370" y="4041"/>
                    <a:pt x="3219" y="7877"/>
                    <a:pt x="0" y="11713"/>
                  </a:cubicBezTo>
                  <a:cubicBezTo>
                    <a:pt x="34795" y="89522"/>
                    <a:pt x="117468" y="221785"/>
                    <a:pt x="272744" y="206990"/>
                  </a:cubicBezTo>
                  <a:cubicBezTo>
                    <a:pt x="275416" y="182812"/>
                    <a:pt x="277334" y="159044"/>
                    <a:pt x="278498" y="136441"/>
                  </a:cubicBezTo>
                  <a:cubicBezTo>
                    <a:pt x="201168" y="146578"/>
                    <a:pt x="103906" y="122947"/>
                    <a:pt x="9521" y="0"/>
                  </a:cubicBezTo>
                  <a:close/>
                </a:path>
              </a:pathLst>
            </a:custGeom>
            <a:solidFill>
              <a:srgbClr val="F0E0C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62;p11">
              <a:extLst>
                <a:ext uri="{FF2B5EF4-FFF2-40B4-BE49-F238E27FC236}">
                  <a16:creationId xmlns:a16="http://schemas.microsoft.com/office/drawing/2014/main" id="{76D6966B-B8F5-4D99-8454-3970BA72EE34}"/>
                </a:ext>
              </a:extLst>
            </p:cNvPr>
            <p:cNvSpPr/>
            <p:nvPr/>
          </p:nvSpPr>
          <p:spPr>
            <a:xfrm>
              <a:off x="1623727" y="2881337"/>
              <a:ext cx="606150" cy="548531"/>
            </a:xfrm>
            <a:custGeom>
              <a:avLst/>
              <a:gdLst/>
              <a:ahLst/>
              <a:cxnLst/>
              <a:rect l="l" t="t" r="r" b="b"/>
              <a:pathLst>
                <a:path w="606150" h="548531" extrusionOk="0">
                  <a:moveTo>
                    <a:pt x="43768" y="373549"/>
                  </a:moveTo>
                  <a:cubicBezTo>
                    <a:pt x="21822" y="429769"/>
                    <a:pt x="7110" y="488551"/>
                    <a:pt x="0" y="548483"/>
                  </a:cubicBezTo>
                  <a:cubicBezTo>
                    <a:pt x="270142" y="552525"/>
                    <a:pt x="564668" y="299095"/>
                    <a:pt x="602340" y="72447"/>
                  </a:cubicBezTo>
                  <a:cubicBezTo>
                    <a:pt x="620217" y="-35089"/>
                    <a:pt x="570627" y="-3855"/>
                    <a:pt x="548161" y="44433"/>
                  </a:cubicBezTo>
                  <a:cubicBezTo>
                    <a:pt x="413980" y="333343"/>
                    <a:pt x="151099" y="356905"/>
                    <a:pt x="43768" y="373549"/>
                  </a:cubicBezTo>
                  <a:close/>
                </a:path>
              </a:pathLst>
            </a:custGeom>
            <a:solidFill>
              <a:srgbClr val="FFFFFF">
                <a:alpha val="5475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47" name="Google Shape;63;p11">
            <a:extLst>
              <a:ext uri="{FF2B5EF4-FFF2-40B4-BE49-F238E27FC236}">
                <a16:creationId xmlns:a16="http://schemas.microsoft.com/office/drawing/2014/main" id="{4CB41DF7-D702-4733-B44F-FD587676B89E}"/>
              </a:ext>
            </a:extLst>
          </p:cNvPr>
          <p:cNvGrpSpPr/>
          <p:nvPr/>
        </p:nvGrpSpPr>
        <p:grpSpPr>
          <a:xfrm>
            <a:off x="5420416" y="535398"/>
            <a:ext cx="635075" cy="1001050"/>
            <a:chOff x="188982" y="2740711"/>
            <a:chExt cx="745218" cy="1174666"/>
          </a:xfrm>
        </p:grpSpPr>
        <p:sp>
          <p:nvSpPr>
            <p:cNvPr id="48" name="Google Shape;64;p11">
              <a:extLst>
                <a:ext uri="{FF2B5EF4-FFF2-40B4-BE49-F238E27FC236}">
                  <a16:creationId xmlns:a16="http://schemas.microsoft.com/office/drawing/2014/main" id="{DCAA8F3E-2AF1-44A2-A372-34A7B715B1A8}"/>
                </a:ext>
              </a:extLst>
            </p:cNvPr>
            <p:cNvSpPr/>
            <p:nvPr/>
          </p:nvSpPr>
          <p:spPr>
            <a:xfrm>
              <a:off x="188982" y="2740711"/>
              <a:ext cx="745218" cy="1174666"/>
            </a:xfrm>
            <a:custGeom>
              <a:avLst/>
              <a:gdLst/>
              <a:ahLst/>
              <a:cxnLst/>
              <a:rect l="l" t="t" r="r" b="b"/>
              <a:pathLst>
                <a:path w="745218" h="1174666" extrusionOk="0">
                  <a:moveTo>
                    <a:pt x="639800" y="385886"/>
                  </a:moveTo>
                  <a:cubicBezTo>
                    <a:pt x="639800" y="385886"/>
                    <a:pt x="355617" y="456640"/>
                    <a:pt x="197806" y="114511"/>
                  </a:cubicBezTo>
                  <a:cubicBezTo>
                    <a:pt x="120133" y="-53848"/>
                    <a:pt x="66844" y="-1313"/>
                    <a:pt x="40268" y="51359"/>
                  </a:cubicBezTo>
                  <a:cubicBezTo>
                    <a:pt x="-18637" y="169032"/>
                    <a:pt x="-80487" y="770550"/>
                    <a:pt x="384864" y="1174667"/>
                  </a:cubicBezTo>
                  <a:cubicBezTo>
                    <a:pt x="384864" y="1174598"/>
                    <a:pt x="980970" y="1027952"/>
                    <a:pt x="639800" y="385886"/>
                  </a:cubicBezTo>
                  <a:close/>
                </a:path>
              </a:pathLst>
            </a:custGeom>
            <a:solidFill>
              <a:srgbClr val="F8F1E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65;p11">
              <a:extLst>
                <a:ext uri="{FF2B5EF4-FFF2-40B4-BE49-F238E27FC236}">
                  <a16:creationId xmlns:a16="http://schemas.microsoft.com/office/drawing/2014/main" id="{35BF3FB6-A0A1-4F6E-9832-C03D6710DC65}"/>
                </a:ext>
              </a:extLst>
            </p:cNvPr>
            <p:cNvSpPr/>
            <p:nvPr/>
          </p:nvSpPr>
          <p:spPr>
            <a:xfrm>
              <a:off x="344800" y="3112760"/>
              <a:ext cx="446368" cy="667683"/>
            </a:xfrm>
            <a:custGeom>
              <a:avLst/>
              <a:gdLst/>
              <a:ahLst/>
              <a:cxnLst/>
              <a:rect l="l" t="t" r="r" b="b"/>
              <a:pathLst>
                <a:path w="446368" h="667683" extrusionOk="0">
                  <a:moveTo>
                    <a:pt x="0" y="526996"/>
                  </a:moveTo>
                  <a:cubicBezTo>
                    <a:pt x="167948" y="500214"/>
                    <a:pt x="398021" y="393843"/>
                    <a:pt x="301375" y="0"/>
                  </a:cubicBezTo>
                  <a:cubicBezTo>
                    <a:pt x="331033" y="10110"/>
                    <a:pt x="361849" y="16439"/>
                    <a:pt x="393089" y="18836"/>
                  </a:cubicBezTo>
                  <a:cubicBezTo>
                    <a:pt x="460488" y="183222"/>
                    <a:pt x="541791" y="533023"/>
                    <a:pt x="97947" y="667683"/>
                  </a:cubicBezTo>
                  <a:cubicBezTo>
                    <a:pt x="61639" y="623443"/>
                    <a:pt x="28888" y="576401"/>
                    <a:pt x="0" y="526996"/>
                  </a:cubicBezTo>
                  <a:close/>
                </a:path>
              </a:pathLst>
            </a:custGeom>
            <a:solidFill>
              <a:srgbClr val="F0E0C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66;p11">
              <a:extLst>
                <a:ext uri="{FF2B5EF4-FFF2-40B4-BE49-F238E27FC236}">
                  <a16:creationId xmlns:a16="http://schemas.microsoft.com/office/drawing/2014/main" id="{577BEBFF-0E2B-4924-9FF7-F7B2A86AD389}"/>
                </a:ext>
              </a:extLst>
            </p:cNvPr>
            <p:cNvSpPr/>
            <p:nvPr/>
          </p:nvSpPr>
          <p:spPr>
            <a:xfrm>
              <a:off x="232538" y="3061527"/>
              <a:ext cx="341567" cy="420075"/>
            </a:xfrm>
            <a:custGeom>
              <a:avLst/>
              <a:gdLst/>
              <a:ahLst/>
              <a:cxnLst/>
              <a:rect l="l" t="t" r="r" b="b"/>
              <a:pathLst>
                <a:path w="341567" h="420075" extrusionOk="0">
                  <a:moveTo>
                    <a:pt x="314663" y="0"/>
                  </a:moveTo>
                  <a:cubicBezTo>
                    <a:pt x="323430" y="6301"/>
                    <a:pt x="332198" y="12103"/>
                    <a:pt x="340965" y="17398"/>
                  </a:cubicBezTo>
                  <a:cubicBezTo>
                    <a:pt x="346513" y="131783"/>
                    <a:pt x="318910" y="353020"/>
                    <a:pt x="36234" y="420076"/>
                  </a:cubicBezTo>
                  <a:cubicBezTo>
                    <a:pt x="21987" y="383294"/>
                    <a:pt x="10000" y="346719"/>
                    <a:pt x="0" y="310485"/>
                  </a:cubicBezTo>
                  <a:cubicBezTo>
                    <a:pt x="83495" y="305280"/>
                    <a:pt x="221785" y="254114"/>
                    <a:pt x="314663" y="0"/>
                  </a:cubicBezTo>
                  <a:close/>
                </a:path>
              </a:pathLst>
            </a:custGeom>
            <a:solidFill>
              <a:srgbClr val="F0E0C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67;p11">
              <a:extLst>
                <a:ext uri="{FF2B5EF4-FFF2-40B4-BE49-F238E27FC236}">
                  <a16:creationId xmlns:a16="http://schemas.microsoft.com/office/drawing/2014/main" id="{BF6FE950-FBE2-46A0-AD72-AA39F8B3963B}"/>
                </a:ext>
              </a:extLst>
            </p:cNvPr>
            <p:cNvSpPr/>
            <p:nvPr/>
          </p:nvSpPr>
          <p:spPr>
            <a:xfrm>
              <a:off x="190551" y="2976457"/>
              <a:ext cx="278498" cy="208133"/>
            </a:xfrm>
            <a:custGeom>
              <a:avLst/>
              <a:gdLst/>
              <a:ahLst/>
              <a:cxnLst/>
              <a:rect l="l" t="t" r="r" b="b"/>
              <a:pathLst>
                <a:path w="278498" h="208133" extrusionOk="0">
                  <a:moveTo>
                    <a:pt x="268977" y="0"/>
                  </a:moveTo>
                  <a:cubicBezTo>
                    <a:pt x="272128" y="4041"/>
                    <a:pt x="275347" y="7877"/>
                    <a:pt x="278498" y="11713"/>
                  </a:cubicBezTo>
                  <a:cubicBezTo>
                    <a:pt x="243703" y="89522"/>
                    <a:pt x="161099" y="221785"/>
                    <a:pt x="5754" y="206990"/>
                  </a:cubicBezTo>
                  <a:cubicBezTo>
                    <a:pt x="3082" y="182812"/>
                    <a:pt x="1233" y="159044"/>
                    <a:pt x="0" y="136441"/>
                  </a:cubicBezTo>
                  <a:cubicBezTo>
                    <a:pt x="77399" y="146578"/>
                    <a:pt x="174661" y="122947"/>
                    <a:pt x="268977" y="0"/>
                  </a:cubicBezTo>
                  <a:close/>
                </a:path>
              </a:pathLst>
            </a:custGeom>
            <a:solidFill>
              <a:srgbClr val="F0E0C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68;p11">
              <a:extLst>
                <a:ext uri="{FF2B5EF4-FFF2-40B4-BE49-F238E27FC236}">
                  <a16:creationId xmlns:a16="http://schemas.microsoft.com/office/drawing/2014/main" id="{CE3284FC-1069-436F-8B61-4B4AE5230BF6}"/>
                </a:ext>
              </a:extLst>
            </p:cNvPr>
            <p:cNvSpPr/>
            <p:nvPr/>
          </p:nvSpPr>
          <p:spPr>
            <a:xfrm>
              <a:off x="324756" y="2881337"/>
              <a:ext cx="606150" cy="548531"/>
            </a:xfrm>
            <a:custGeom>
              <a:avLst/>
              <a:gdLst/>
              <a:ahLst/>
              <a:cxnLst/>
              <a:rect l="l" t="t" r="r" b="b"/>
              <a:pathLst>
                <a:path w="606150" h="548531" extrusionOk="0">
                  <a:moveTo>
                    <a:pt x="562383" y="373549"/>
                  </a:moveTo>
                  <a:cubicBezTo>
                    <a:pt x="584328" y="429769"/>
                    <a:pt x="599041" y="488551"/>
                    <a:pt x="606151" y="548483"/>
                  </a:cubicBezTo>
                  <a:cubicBezTo>
                    <a:pt x="336009" y="552525"/>
                    <a:pt x="41483" y="299095"/>
                    <a:pt x="3811" y="72447"/>
                  </a:cubicBezTo>
                  <a:cubicBezTo>
                    <a:pt x="-14066" y="-35089"/>
                    <a:pt x="35524" y="-3855"/>
                    <a:pt x="57921" y="44433"/>
                  </a:cubicBezTo>
                  <a:cubicBezTo>
                    <a:pt x="192170" y="333343"/>
                    <a:pt x="455052" y="356905"/>
                    <a:pt x="562383" y="373549"/>
                  </a:cubicBezTo>
                  <a:close/>
                </a:path>
              </a:pathLst>
            </a:custGeom>
            <a:solidFill>
              <a:srgbClr val="FFFFFF">
                <a:alpha val="5475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53" name="Google Shape;90;p12">
            <a:extLst>
              <a:ext uri="{FF2B5EF4-FFF2-40B4-BE49-F238E27FC236}">
                <a16:creationId xmlns:a16="http://schemas.microsoft.com/office/drawing/2014/main" id="{19D43E30-2101-4194-81A4-181B5DCCC86F}"/>
              </a:ext>
            </a:extLst>
          </p:cNvPr>
          <p:cNvGrpSpPr/>
          <p:nvPr/>
        </p:nvGrpSpPr>
        <p:grpSpPr>
          <a:xfrm>
            <a:off x="6672164" y="100484"/>
            <a:ext cx="676734" cy="678124"/>
            <a:chOff x="2893887" y="2547824"/>
            <a:chExt cx="1212350" cy="1214840"/>
          </a:xfrm>
        </p:grpSpPr>
        <p:sp>
          <p:nvSpPr>
            <p:cNvPr id="54" name="Google Shape;91;p12">
              <a:extLst>
                <a:ext uri="{FF2B5EF4-FFF2-40B4-BE49-F238E27FC236}">
                  <a16:creationId xmlns:a16="http://schemas.microsoft.com/office/drawing/2014/main" id="{17BC7249-7938-493E-AECD-02913747B776}"/>
                </a:ext>
              </a:extLst>
            </p:cNvPr>
            <p:cNvSpPr/>
            <p:nvPr/>
          </p:nvSpPr>
          <p:spPr>
            <a:xfrm>
              <a:off x="2893887" y="2547824"/>
              <a:ext cx="1212350" cy="1214840"/>
            </a:xfrm>
            <a:custGeom>
              <a:avLst/>
              <a:gdLst/>
              <a:ahLst/>
              <a:cxnLst/>
              <a:rect l="l" t="t" r="r" b="b"/>
              <a:pathLst>
                <a:path w="1212350" h="1214840" extrusionOk="0">
                  <a:moveTo>
                    <a:pt x="0" y="1070973"/>
                  </a:moveTo>
                  <a:cubicBezTo>
                    <a:pt x="0" y="1070973"/>
                    <a:pt x="650697" y="1447692"/>
                    <a:pt x="1212351" y="981930"/>
                  </a:cubicBezTo>
                  <a:lnTo>
                    <a:pt x="549325" y="40612"/>
                  </a:lnTo>
                  <a:cubicBezTo>
                    <a:pt x="518790" y="-2656"/>
                    <a:pt x="458960" y="-12985"/>
                    <a:pt x="415686" y="17550"/>
                  </a:cubicBezTo>
                  <a:cubicBezTo>
                    <a:pt x="400062" y="28578"/>
                    <a:pt x="388089" y="44030"/>
                    <a:pt x="381308" y="61914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92;p12">
              <a:extLst>
                <a:ext uri="{FF2B5EF4-FFF2-40B4-BE49-F238E27FC236}">
                  <a16:creationId xmlns:a16="http://schemas.microsoft.com/office/drawing/2014/main" id="{8C0DF4E2-1495-44D6-8511-B722495F4C3B}"/>
                </a:ext>
              </a:extLst>
            </p:cNvPr>
            <p:cNvSpPr/>
            <p:nvPr/>
          </p:nvSpPr>
          <p:spPr>
            <a:xfrm>
              <a:off x="2996697" y="3186871"/>
              <a:ext cx="951250" cy="244546"/>
            </a:xfrm>
            <a:custGeom>
              <a:avLst/>
              <a:gdLst/>
              <a:ahLst/>
              <a:cxnLst/>
              <a:rect l="l" t="t" r="r" b="b"/>
              <a:pathLst>
                <a:path w="951250" h="244546" extrusionOk="0">
                  <a:moveTo>
                    <a:pt x="43357" y="45138"/>
                  </a:moveTo>
                  <a:lnTo>
                    <a:pt x="0" y="159934"/>
                  </a:lnTo>
                  <a:cubicBezTo>
                    <a:pt x="152674" y="234319"/>
                    <a:pt x="473639" y="323156"/>
                    <a:pt x="951250" y="118221"/>
                  </a:cubicBezTo>
                  <a:lnTo>
                    <a:pt x="867961" y="0"/>
                  </a:lnTo>
                  <a:cubicBezTo>
                    <a:pt x="691177" y="94111"/>
                    <a:pt x="402815" y="180483"/>
                    <a:pt x="43357" y="45138"/>
                  </a:cubicBezTo>
                  <a:close/>
                </a:path>
              </a:pathLst>
            </a:custGeom>
            <a:solidFill>
              <a:srgbClr val="34365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93;p12">
              <a:extLst>
                <a:ext uri="{FF2B5EF4-FFF2-40B4-BE49-F238E27FC236}">
                  <a16:creationId xmlns:a16="http://schemas.microsoft.com/office/drawing/2014/main" id="{935DFE89-78B8-4C0A-BCEB-1974E73FFFB3}"/>
                </a:ext>
              </a:extLst>
            </p:cNvPr>
            <p:cNvSpPr/>
            <p:nvPr/>
          </p:nvSpPr>
          <p:spPr>
            <a:xfrm>
              <a:off x="3140056" y="2892620"/>
              <a:ext cx="568503" cy="125416"/>
            </a:xfrm>
            <a:custGeom>
              <a:avLst/>
              <a:gdLst/>
              <a:ahLst/>
              <a:cxnLst/>
              <a:rect l="l" t="t" r="r" b="b"/>
              <a:pathLst>
                <a:path w="568503" h="125416" extrusionOk="0">
                  <a:moveTo>
                    <a:pt x="27398" y="2123"/>
                  </a:moveTo>
                  <a:lnTo>
                    <a:pt x="0" y="74179"/>
                  </a:lnTo>
                  <a:cubicBezTo>
                    <a:pt x="118016" y="119317"/>
                    <a:pt x="322540" y="163222"/>
                    <a:pt x="568503" y="72261"/>
                  </a:cubicBezTo>
                  <a:lnTo>
                    <a:pt x="517544" y="0"/>
                  </a:lnTo>
                  <a:cubicBezTo>
                    <a:pt x="405281" y="47467"/>
                    <a:pt x="236717" y="79796"/>
                    <a:pt x="27398" y="2123"/>
                  </a:cubicBezTo>
                  <a:close/>
                </a:path>
              </a:pathLst>
            </a:custGeom>
            <a:solidFill>
              <a:srgbClr val="34365A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94;p12">
              <a:extLst>
                <a:ext uri="{FF2B5EF4-FFF2-40B4-BE49-F238E27FC236}">
                  <a16:creationId xmlns:a16="http://schemas.microsoft.com/office/drawing/2014/main" id="{4B8D0CB9-4E92-49BF-A8A0-D82E002AFE60}"/>
                </a:ext>
              </a:extLst>
            </p:cNvPr>
            <p:cNvSpPr/>
            <p:nvPr/>
          </p:nvSpPr>
          <p:spPr>
            <a:xfrm>
              <a:off x="3404162" y="2647161"/>
              <a:ext cx="524058" cy="1084446"/>
            </a:xfrm>
            <a:custGeom>
              <a:avLst/>
              <a:gdLst/>
              <a:ahLst/>
              <a:cxnLst/>
              <a:rect l="l" t="t" r="r" b="b"/>
              <a:pathLst>
                <a:path w="524058" h="1084446" extrusionOk="0">
                  <a:moveTo>
                    <a:pt x="524059" y="1002185"/>
                  </a:moveTo>
                  <a:lnTo>
                    <a:pt x="18570" y="4084"/>
                  </a:lnTo>
                  <a:cubicBezTo>
                    <a:pt x="13844" y="-5299"/>
                    <a:pt x="-2595" y="3057"/>
                    <a:pt x="351" y="13331"/>
                  </a:cubicBezTo>
                  <a:lnTo>
                    <a:pt x="311452" y="1084446"/>
                  </a:lnTo>
                  <a:cubicBezTo>
                    <a:pt x="385337" y="1065562"/>
                    <a:pt x="456708" y="1037952"/>
                    <a:pt x="524059" y="1002185"/>
                  </a:cubicBezTo>
                  <a:close/>
                </a:path>
              </a:pathLst>
            </a:custGeom>
            <a:solidFill>
              <a:srgbClr val="FFFFFF">
                <a:alpha val="298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h template">
  <a:themeElements>
    <a:clrScheme name="Custom 347">
      <a:dk1>
        <a:srgbClr val="00032A"/>
      </a:dk1>
      <a:lt1>
        <a:srgbClr val="FFFFFF"/>
      </a:lt1>
      <a:dk2>
        <a:srgbClr val="8B8D9E"/>
      </a:dk2>
      <a:lt2>
        <a:srgbClr val="F1F2F7"/>
      </a:lt2>
      <a:accent1>
        <a:srgbClr val="32C34B"/>
      </a:accent1>
      <a:accent2>
        <a:srgbClr val="FFCC19"/>
      </a:accent2>
      <a:accent3>
        <a:srgbClr val="F14545"/>
      </a:accent3>
      <a:accent4>
        <a:srgbClr val="C0007C"/>
      </a:accent4>
      <a:accent5>
        <a:srgbClr val="7B62D5"/>
      </a:accent5>
      <a:accent6>
        <a:srgbClr val="2EC6DD"/>
      </a:accent6>
      <a:hlink>
        <a:srgbClr val="1B249E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7</TotalTime>
  <Words>162</Words>
  <Application>Microsoft Office PowerPoint</Application>
  <PresentationFormat>On-screen Show (16:9)</PresentationFormat>
  <Paragraphs>47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tma</vt:lpstr>
      <vt:lpstr>Calibri</vt:lpstr>
      <vt:lpstr>Quicksand Light</vt:lpstr>
      <vt:lpstr>Arial</vt:lpstr>
      <vt:lpstr>Moth template</vt:lpstr>
      <vt:lpstr>think-cell Slide</vt:lpstr>
      <vt:lpstr>IRONHACK-ADO</vt:lpstr>
      <vt:lpstr>CATEGORIES</vt:lpstr>
      <vt:lpstr>Acciones a realizar </vt:lpstr>
      <vt:lpstr>RETOS ENFRENTADOS</vt:lpstr>
      <vt:lpstr>PowerPoint Presentation</vt:lpstr>
      <vt:lpstr>Prueba tus habilidades 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LTRAMIND</dc:title>
  <dc:creator>Marian Aguilera Mora</dc:creator>
  <cp:lastModifiedBy>Marian Aguilera Mora</cp:lastModifiedBy>
  <cp:revision>20</cp:revision>
  <dcterms:modified xsi:type="dcterms:W3CDTF">2020-10-24T00:05:42Z</dcterms:modified>
</cp:coreProperties>
</file>